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9.xml" ContentType="application/vnd.openxmlformats-officedocument.presentationml.tags+xml"/>
  <Override PartName="/ppt/notesSlides/notesSlide14.xml" ContentType="application/vnd.openxmlformats-officedocument.presentationml.notesSlide+xml"/>
  <Override PartName="/ppt/tags/tag10.xml" ContentType="application/vnd.openxmlformats-officedocument.presentationml.tags+xml"/>
  <Override PartName="/ppt/notesSlides/notesSlide1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008" r:id="rId1"/>
    <p:sldMasterId id="2147483976" r:id="rId2"/>
  </p:sldMasterIdLst>
  <p:notesMasterIdLst>
    <p:notesMasterId r:id="rId28"/>
  </p:notesMasterIdLst>
  <p:sldIdLst>
    <p:sldId id="708" r:id="rId3"/>
    <p:sldId id="758" r:id="rId4"/>
    <p:sldId id="831" r:id="rId5"/>
    <p:sldId id="263" r:id="rId6"/>
    <p:sldId id="834" r:id="rId7"/>
    <p:sldId id="264" r:id="rId8"/>
    <p:sldId id="846" r:id="rId9"/>
    <p:sldId id="886" r:id="rId10"/>
    <p:sldId id="671" r:id="rId11"/>
    <p:sldId id="916" r:id="rId12"/>
    <p:sldId id="865" r:id="rId13"/>
    <p:sldId id="899" r:id="rId14"/>
    <p:sldId id="898" r:id="rId15"/>
    <p:sldId id="695" r:id="rId16"/>
    <p:sldId id="913" r:id="rId17"/>
    <p:sldId id="835" r:id="rId18"/>
    <p:sldId id="838" r:id="rId19"/>
    <p:sldId id="830" r:id="rId20"/>
    <p:sldId id="703" r:id="rId21"/>
    <p:sldId id="907" r:id="rId22"/>
    <p:sldId id="917" r:id="rId23"/>
    <p:sldId id="918" r:id="rId24"/>
    <p:sldId id="921" r:id="rId25"/>
    <p:sldId id="922" r:id="rId26"/>
    <p:sldId id="915" r:id="rId27"/>
  </p:sldIdLst>
  <p:sldSz cx="13444538" cy="7562850"/>
  <p:notesSz cx="10693400" cy="7562850"/>
  <p:custDataLst>
    <p:tags r:id="rId2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6731" userDrawn="1">
          <p15:clr>
            <a:srgbClr val="A4A3A4"/>
          </p15:clr>
        </p15:guide>
        <p15:guide id="3" orient="horz" pos="43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300"/>
    <a:srgbClr val="02050A"/>
    <a:srgbClr val="636D7B"/>
    <a:srgbClr val="1E3777"/>
    <a:srgbClr val="004A87"/>
    <a:srgbClr val="A4B4D9"/>
    <a:srgbClr val="217AFF"/>
    <a:srgbClr val="1A6491"/>
    <a:srgbClr val="1574D1"/>
    <a:srgbClr val="59A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495" autoAdjust="0"/>
    <p:restoredTop sz="76765" autoAdjust="0"/>
  </p:normalViewPr>
  <p:slideViewPr>
    <p:cSldViewPr>
      <p:cViewPr>
        <p:scale>
          <a:sx n="66" d="100"/>
          <a:sy n="66" d="100"/>
        </p:scale>
        <p:origin x="907" y="38"/>
      </p:cViewPr>
      <p:guideLst>
        <p:guide orient="horz" pos="1230"/>
        <p:guide pos="6731"/>
        <p:guide orient="horz" pos="439"/>
      </p:guideLst>
    </p:cSldViewPr>
  </p:slideViewPr>
  <p:outlineViewPr>
    <p:cViewPr>
      <p:scale>
        <a:sx n="33" d="100"/>
        <a:sy n="33" d="100"/>
      </p:scale>
      <p:origin x="0" y="-1756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presProps" Target="presProps.xml"/><Relationship Id="rId8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633913" cy="3794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6057900" y="0"/>
            <a:ext cx="4632325" cy="3794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17CD1E-0444-46C9-B17E-14638CC2B48E}" type="datetimeFigureOut">
              <a:rPr lang="ru-RU" smtClean="0"/>
              <a:t>18.10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079750" y="946150"/>
            <a:ext cx="4533900" cy="2551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1069975" y="3640138"/>
            <a:ext cx="8553450" cy="29781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7183438"/>
            <a:ext cx="4633913" cy="379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6057900" y="7183438"/>
            <a:ext cx="4632325" cy="379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8B010F-7D59-4CC0-9085-9869E94FF8E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62136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8CEF96-8A95-3347-8B8E-5824F5A07CD6}" type="slidenum">
              <a:rPr lang="ru-RU" smtClean="0">
                <a:solidFill>
                  <a:prstClr val="black"/>
                </a:solidFill>
              </a:rPr>
              <a:pPr/>
              <a:t>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93878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8B010F-7D59-4CC0-9085-9869E94FF8E0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070594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8B010F-7D59-4CC0-9085-9869E94FF8E0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40683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8B010F-7D59-4CC0-9085-9869E94FF8E0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90782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8B010F-7D59-4CC0-9085-9869E94FF8E0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32358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8B010F-7D59-4CC0-9085-9869E94FF8E0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338074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8B010F-7D59-4CC0-9085-9869E94FF8E0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225637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BE5007-DEC5-4AC2-A99D-F4DEFB1FEE03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538238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8CEF96-8A95-3347-8B8E-5824F5A07CD6}" type="slidenum">
              <a:rPr lang="ru-RU" smtClean="0">
                <a:solidFill>
                  <a:prstClr val="black"/>
                </a:solidFill>
              </a:rPr>
              <a:pPr/>
              <a:t>2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72928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8B010F-7D59-4CC0-9085-9869E94FF8E0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67253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8B010F-7D59-4CC0-9085-9869E94FF8E0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35561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8B010F-7D59-4CC0-9085-9869E94FF8E0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145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8B010F-7D59-4CC0-9085-9869E94FF8E0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66315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4696CC-3637-43D1-AFEE-9D12ED254D06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95820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8B010F-7D59-4CC0-9085-9869E94FF8E0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55627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8B010F-7D59-4CC0-9085-9869E94FF8E0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82897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8B010F-7D59-4CC0-9085-9869E94FF8E0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34556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13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5.png"/><Relationship Id="rId12" Type="http://schemas.openxmlformats.org/officeDocument/2006/relationships/image" Target="../media/image12.svg"/><Relationship Id="rId17" Type="http://schemas.openxmlformats.org/officeDocument/2006/relationships/image" Target="../media/image10.png"/><Relationship Id="rId2" Type="http://schemas.openxmlformats.org/officeDocument/2006/relationships/image" Target="../media/image2.jpeg"/><Relationship Id="rId16" Type="http://schemas.openxmlformats.org/officeDocument/2006/relationships/image" Target="../media/image16.sv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11" Type="http://schemas.openxmlformats.org/officeDocument/2006/relationships/image" Target="../media/image7.png"/><Relationship Id="rId5" Type="http://schemas.openxmlformats.org/officeDocument/2006/relationships/image" Target="../media/image4.png"/><Relationship Id="rId15" Type="http://schemas.openxmlformats.org/officeDocument/2006/relationships/image" Target="../media/image9.png"/><Relationship Id="rId10" Type="http://schemas.openxmlformats.org/officeDocument/2006/relationships/image" Target="../media/image10.svg"/><Relationship Id="rId4" Type="http://schemas.openxmlformats.org/officeDocument/2006/relationships/image" Target="../media/image4.svg"/><Relationship Id="rId9" Type="http://schemas.openxmlformats.org/officeDocument/2006/relationships/image" Target="../media/image6.png"/><Relationship Id="rId14" Type="http://schemas.openxmlformats.org/officeDocument/2006/relationships/image" Target="../media/image14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4.svg"/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12" Type="http://schemas.openxmlformats.org/officeDocument/2006/relationships/image" Target="../media/image16.png"/><Relationship Id="rId17" Type="http://schemas.openxmlformats.org/officeDocument/2006/relationships/image" Target="../media/image10.png"/><Relationship Id="rId2" Type="http://schemas.openxmlformats.org/officeDocument/2006/relationships/image" Target="../media/image11.png"/><Relationship Id="rId16" Type="http://schemas.openxmlformats.org/officeDocument/2006/relationships/image" Target="../media/image16.sv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png"/><Relationship Id="rId11" Type="http://schemas.openxmlformats.org/officeDocument/2006/relationships/image" Target="../media/image12.svg"/><Relationship Id="rId5" Type="http://schemas.openxmlformats.org/officeDocument/2006/relationships/image" Target="../media/image6.svg"/><Relationship Id="rId15" Type="http://schemas.openxmlformats.org/officeDocument/2006/relationships/image" Target="../media/image9.png"/><Relationship Id="rId10" Type="http://schemas.openxmlformats.org/officeDocument/2006/relationships/image" Target="../media/image15.png"/><Relationship Id="rId4" Type="http://schemas.openxmlformats.org/officeDocument/2006/relationships/image" Target="../media/image12.png"/><Relationship Id="rId9" Type="http://schemas.openxmlformats.org/officeDocument/2006/relationships/image" Target="../media/image10.svg"/><Relationship Id="rId14" Type="http://schemas.openxmlformats.org/officeDocument/2006/relationships/image" Target="../media/image17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13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5.png"/><Relationship Id="rId12" Type="http://schemas.openxmlformats.org/officeDocument/2006/relationships/image" Target="../media/image12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11" Type="http://schemas.openxmlformats.org/officeDocument/2006/relationships/image" Target="../media/image7.png"/><Relationship Id="rId5" Type="http://schemas.openxmlformats.org/officeDocument/2006/relationships/image" Target="../media/image4.png"/><Relationship Id="rId10" Type="http://schemas.openxmlformats.org/officeDocument/2006/relationships/image" Target="../media/image10.svg"/><Relationship Id="rId4" Type="http://schemas.openxmlformats.org/officeDocument/2006/relationships/image" Target="../media/image4.svg"/><Relationship Id="rId9" Type="http://schemas.openxmlformats.org/officeDocument/2006/relationships/image" Target="../media/image6.png"/><Relationship Id="rId14" Type="http://schemas.openxmlformats.org/officeDocument/2006/relationships/image" Target="../media/image14.sv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4.svg"/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12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11" Type="http://schemas.openxmlformats.org/officeDocument/2006/relationships/image" Target="../media/image12.svg"/><Relationship Id="rId5" Type="http://schemas.openxmlformats.org/officeDocument/2006/relationships/image" Target="../media/image6.svg"/><Relationship Id="rId10" Type="http://schemas.openxmlformats.org/officeDocument/2006/relationships/image" Target="../media/image7.png"/><Relationship Id="rId4" Type="http://schemas.openxmlformats.org/officeDocument/2006/relationships/image" Target="../media/image4.png"/><Relationship Id="rId9" Type="http://schemas.openxmlformats.org/officeDocument/2006/relationships/image" Target="../media/image10.sv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1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13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5.png"/><Relationship Id="rId12" Type="http://schemas.openxmlformats.org/officeDocument/2006/relationships/image" Target="../media/image12.svg"/><Relationship Id="rId17" Type="http://schemas.openxmlformats.org/officeDocument/2006/relationships/image" Target="../media/image10.png"/><Relationship Id="rId2" Type="http://schemas.openxmlformats.org/officeDocument/2006/relationships/image" Target="../media/image2.jpeg"/><Relationship Id="rId16" Type="http://schemas.openxmlformats.org/officeDocument/2006/relationships/image" Target="../media/image16.sv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11" Type="http://schemas.openxmlformats.org/officeDocument/2006/relationships/image" Target="../media/image7.png"/><Relationship Id="rId5" Type="http://schemas.openxmlformats.org/officeDocument/2006/relationships/image" Target="../media/image4.png"/><Relationship Id="rId15" Type="http://schemas.openxmlformats.org/officeDocument/2006/relationships/image" Target="../media/image9.png"/><Relationship Id="rId10" Type="http://schemas.openxmlformats.org/officeDocument/2006/relationships/image" Target="../media/image10.svg"/><Relationship Id="rId4" Type="http://schemas.openxmlformats.org/officeDocument/2006/relationships/image" Target="../media/image4.svg"/><Relationship Id="rId9" Type="http://schemas.openxmlformats.org/officeDocument/2006/relationships/image" Target="../media/image6.png"/><Relationship Id="rId14" Type="http://schemas.openxmlformats.org/officeDocument/2006/relationships/image" Target="../media/image14.sv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4.svg"/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12" Type="http://schemas.openxmlformats.org/officeDocument/2006/relationships/image" Target="../media/image16.png"/><Relationship Id="rId17" Type="http://schemas.openxmlformats.org/officeDocument/2006/relationships/image" Target="../media/image10.png"/><Relationship Id="rId2" Type="http://schemas.openxmlformats.org/officeDocument/2006/relationships/image" Target="../media/image11.png"/><Relationship Id="rId16" Type="http://schemas.openxmlformats.org/officeDocument/2006/relationships/image" Target="../media/image16.sv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png"/><Relationship Id="rId11" Type="http://schemas.openxmlformats.org/officeDocument/2006/relationships/image" Target="../media/image12.svg"/><Relationship Id="rId5" Type="http://schemas.openxmlformats.org/officeDocument/2006/relationships/image" Target="../media/image6.svg"/><Relationship Id="rId15" Type="http://schemas.openxmlformats.org/officeDocument/2006/relationships/image" Target="../media/image9.png"/><Relationship Id="rId10" Type="http://schemas.openxmlformats.org/officeDocument/2006/relationships/image" Target="../media/image15.png"/><Relationship Id="rId4" Type="http://schemas.openxmlformats.org/officeDocument/2006/relationships/image" Target="../media/image12.png"/><Relationship Id="rId9" Type="http://schemas.openxmlformats.org/officeDocument/2006/relationships/image" Target="../media/image10.svg"/><Relationship Id="rId14" Type="http://schemas.openxmlformats.org/officeDocument/2006/relationships/image" Target="../media/image17.pn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png"/><Relationship Id="rId4" Type="http://schemas.openxmlformats.org/officeDocument/2006/relationships/image" Target="../media/image16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png"/><Relationship Id="rId4" Type="http://schemas.openxmlformats.org/officeDocument/2006/relationships/image" Target="../media/image16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1.png"/><Relationship Id="rId4" Type="http://schemas.openxmlformats.org/officeDocument/2006/relationships/image" Target="../media/image16.svg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1.png"/><Relationship Id="rId4" Type="http://schemas.openxmlformats.org/officeDocument/2006/relationships/image" Target="../media/image16.sv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1.png"/><Relationship Id="rId4" Type="http://schemas.openxmlformats.org/officeDocument/2006/relationships/image" Target="../media/image16.sv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13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5.png"/><Relationship Id="rId12" Type="http://schemas.openxmlformats.org/officeDocument/2006/relationships/image" Target="../media/image12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11" Type="http://schemas.openxmlformats.org/officeDocument/2006/relationships/image" Target="../media/image7.png"/><Relationship Id="rId5" Type="http://schemas.openxmlformats.org/officeDocument/2006/relationships/image" Target="../media/image4.png"/><Relationship Id="rId10" Type="http://schemas.openxmlformats.org/officeDocument/2006/relationships/image" Target="../media/image10.svg"/><Relationship Id="rId4" Type="http://schemas.openxmlformats.org/officeDocument/2006/relationships/image" Target="../media/image4.svg"/><Relationship Id="rId9" Type="http://schemas.openxmlformats.org/officeDocument/2006/relationships/image" Target="../media/image6.png"/><Relationship Id="rId14" Type="http://schemas.openxmlformats.org/officeDocument/2006/relationships/image" Target="../media/image1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1.png"/><Relationship Id="rId4" Type="http://schemas.openxmlformats.org/officeDocument/2006/relationships/image" Target="../media/image16.svg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4.svg"/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12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11" Type="http://schemas.openxmlformats.org/officeDocument/2006/relationships/image" Target="../media/image12.svg"/><Relationship Id="rId5" Type="http://schemas.openxmlformats.org/officeDocument/2006/relationships/image" Target="../media/image6.svg"/><Relationship Id="rId10" Type="http://schemas.openxmlformats.org/officeDocument/2006/relationships/image" Target="../media/image7.png"/><Relationship Id="rId4" Type="http://schemas.openxmlformats.org/officeDocument/2006/relationships/image" Target="../media/image4.png"/><Relationship Id="rId9" Type="http://schemas.openxmlformats.org/officeDocument/2006/relationships/image" Target="../media/image10.sv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l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525BCF57-F0E4-B447-A0A2-15075F29E6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864680" cy="7562850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6883B903-8754-7749-B5F0-47957463B9CE}"/>
              </a:ext>
            </a:extLst>
          </p:cNvPr>
          <p:cNvGrpSpPr/>
          <p:nvPr userDrawn="1"/>
        </p:nvGrpSpPr>
        <p:grpSpPr>
          <a:xfrm>
            <a:off x="422678" y="6006416"/>
            <a:ext cx="12820805" cy="1556434"/>
            <a:chOff x="383300" y="5571948"/>
            <a:chExt cx="11626376" cy="1411376"/>
          </a:xfrm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FE102B69-9AB2-364B-9281-E5B89C29417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6512300" y="5571948"/>
              <a:ext cx="1411376" cy="1411376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0FDF079C-F173-1940-8221-0D93A25A2F8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8555300" y="5571948"/>
              <a:ext cx="1411376" cy="1411376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6D07F488-D4F6-0C47-81F2-3F713FDEA94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10598300" y="5571948"/>
              <a:ext cx="1411376" cy="1411376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E2BC3405-90D0-F34A-98AA-B44F4BA513D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2426300" y="5571948"/>
              <a:ext cx="1411376" cy="1411376"/>
            </a:xfrm>
            <a:prstGeom prst="rect">
              <a:avLst/>
            </a:prstGeom>
          </p:spPr>
        </p:pic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A1939122-BE95-6043-A027-3EA3F47C408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383300" y="5571948"/>
              <a:ext cx="1411376" cy="1411376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96C08B5C-AEFF-844E-9ACE-B62CB0EE06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4"/>
                </a:ext>
              </a:extLst>
            </a:blip>
            <a:stretch>
              <a:fillRect/>
            </a:stretch>
          </p:blipFill>
          <p:spPr>
            <a:xfrm>
              <a:off x="4469300" y="5571948"/>
              <a:ext cx="1411376" cy="1411376"/>
            </a:xfrm>
            <a:prstGeom prst="rect">
              <a:avLst/>
            </a:prstGeom>
          </p:spPr>
        </p:pic>
      </p:grpSp>
      <p:sp>
        <p:nvSpPr>
          <p:cNvPr id="25" name="Title 1">
            <a:extLst>
              <a:ext uri="{FF2B5EF4-FFF2-40B4-BE49-F238E27FC236}">
                <a16:creationId xmlns:a16="http://schemas.microsoft.com/office/drawing/2014/main" id="{2196463C-60A1-41D1-BF41-3DDAEFE7C6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40304" y="1789009"/>
            <a:ext cx="8523916" cy="2164487"/>
          </a:xfrm>
          <a:prstGeom prst="rect">
            <a:avLst/>
          </a:prstGeom>
          <a:noFill/>
        </p:spPr>
        <p:txBody>
          <a:bodyPr anchor="b"/>
          <a:lstStyle>
            <a:lvl1pPr algn="l">
              <a:defRPr sz="661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0A2CDEE7-AC5F-4BEA-B195-3CFFDAA4CE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40305" y="4044383"/>
            <a:ext cx="7515551" cy="82381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646">
                <a:solidFill>
                  <a:schemeClr val="bg1">
                    <a:alpha val="85000"/>
                  </a:schemeClr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80CA9132-DB25-4C64-8E7A-29EF911CF88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1624183" y="442217"/>
            <a:ext cx="3898916" cy="739479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77B022E1-B4AA-40E1-BB6D-9F977D6CCC15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727" y="541184"/>
            <a:ext cx="1169246" cy="375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4530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103119-C141-E54F-8762-5B4BF24910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6677" y="1396520"/>
            <a:ext cx="11892668" cy="80180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529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391172-20E0-574C-BD92-6BBB360B09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6677" y="2506947"/>
            <a:ext cx="11892668" cy="43048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73764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0030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FCA256-CCBE-074A-8F14-29700E359B9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79378" y="7009642"/>
            <a:ext cx="1391514" cy="402652"/>
          </a:xfrm>
          <a:prstGeom prst="rect">
            <a:avLst/>
          </a:prstGeom>
        </p:spPr>
        <p:txBody>
          <a:bodyPr/>
          <a:lstStyle/>
          <a:p>
            <a:fld id="{D2FF81E4-D8C0-9744-AF45-9BB17D958942}" type="datetimeFigureOut">
              <a:rPr lang="ru-RU" smtClean="0">
                <a:solidFill>
                  <a:srgbClr val="FFFFFF">
                    <a:lumMod val="85000"/>
                  </a:srgbClr>
                </a:solidFill>
              </a:rPr>
              <a:pPr/>
              <a:t>18.10.2022</a:t>
            </a:fld>
            <a:endParaRPr lang="ru-RU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8A8032-FB4E-204B-9CA4-B3BD8E3036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215535" y="7009642"/>
            <a:ext cx="722748" cy="402652"/>
          </a:xfrm>
          <a:prstGeom prst="rect">
            <a:avLst/>
          </a:prstGeom>
        </p:spPr>
        <p:txBody>
          <a:bodyPr/>
          <a:lstStyle/>
          <a:p>
            <a:fld id="{AE66B4A3-4129-F34A-ABB8-07862CFF62C7}" type="slidenum">
              <a:rPr lang="ru-RU" smtClean="0">
                <a:solidFill>
                  <a:srgbClr val="FFFFFF">
                    <a:lumMod val="8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FFFFFF">
                  <a:lumMod val="8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9395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sis and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>
            <a:extLst>
              <a:ext uri="{FF2B5EF4-FFF2-40B4-BE49-F238E27FC236}">
                <a16:creationId xmlns:a16="http://schemas.microsoft.com/office/drawing/2014/main" id="{654C340A-5A64-9A4B-BC7B-C2435778AD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82955" y="1224095"/>
            <a:ext cx="5440563" cy="2601818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defRPr sz="463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0196E1D2-2B06-124B-B328-57B1FA52A8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2954" y="3959375"/>
            <a:ext cx="5440564" cy="299774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accent2"/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831F79D5-3B55-E449-923D-670C81D970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221019" y="1224096"/>
            <a:ext cx="5440565" cy="573302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35698BC-3DDF-F14F-96CD-CFD76EABB9EC}"/>
              </a:ext>
            </a:extLst>
          </p:cNvPr>
          <p:cNvCxnSpPr>
            <a:cxnSpLocks/>
          </p:cNvCxnSpPr>
          <p:nvPr userDrawn="1"/>
        </p:nvCxnSpPr>
        <p:spPr>
          <a:xfrm>
            <a:off x="6722269" y="1224095"/>
            <a:ext cx="0" cy="5745591"/>
          </a:xfrm>
          <a:prstGeom prst="line">
            <a:avLst/>
          </a:prstGeom>
          <a:ln w="50800">
            <a:solidFill>
              <a:schemeClr val="accent6">
                <a:lumMod val="20000"/>
                <a:lumOff val="80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60796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3">
            <a:extLst>
              <a:ext uri="{FF2B5EF4-FFF2-40B4-BE49-F238E27FC236}">
                <a16:creationId xmlns:a16="http://schemas.microsoft.com/office/drawing/2014/main" id="{AE333ECE-B1D7-4D86-B7E1-13E53A861770}"/>
              </a:ext>
            </a:extLst>
          </p:cNvPr>
          <p:cNvSpPr/>
          <p:nvPr userDrawn="1"/>
        </p:nvSpPr>
        <p:spPr>
          <a:xfrm>
            <a:off x="0" y="1771305"/>
            <a:ext cx="13444538" cy="74879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15010" b="4142"/>
            </a:stretch>
          </a:blipFill>
        </p:spPr>
        <p:txBody>
          <a:bodyPr wrap="square" lIns="0" tIns="0" rIns="0" bIns="0" rtlCol="0"/>
          <a:lstStyle/>
          <a:p>
            <a:endParaRPr sz="1985" dirty="0">
              <a:solidFill>
                <a:srgbClr val="004987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5C1594-D0EE-1149-A408-DEB54452C1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5951" y="1156024"/>
            <a:ext cx="11912639" cy="74879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529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B440EACC-2FC2-41A5-AB0E-BE51BBE6E2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65951" y="3870227"/>
            <a:ext cx="3172508" cy="27376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47B9800B-C82A-432D-A80E-354F28999CAB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4241760" y="3870227"/>
            <a:ext cx="3172508" cy="27376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3D3EA2CE-902A-4D80-9C0E-5A5A0AF684DA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7670117" y="3870227"/>
            <a:ext cx="3172508" cy="27376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5DB6916D-BDD8-4BE7-B438-E2B30E5855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2954" y="2460502"/>
            <a:ext cx="9490255" cy="12321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accent2"/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46012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ject 3">
            <a:extLst>
              <a:ext uri="{FF2B5EF4-FFF2-40B4-BE49-F238E27FC236}">
                <a16:creationId xmlns:a16="http://schemas.microsoft.com/office/drawing/2014/main" id="{E6F4BC12-FF2A-684D-91B4-D8E527202614}"/>
              </a:ext>
            </a:extLst>
          </p:cNvPr>
          <p:cNvSpPr/>
          <p:nvPr userDrawn="1"/>
        </p:nvSpPr>
        <p:spPr>
          <a:xfrm>
            <a:off x="0" y="1771305"/>
            <a:ext cx="13444538" cy="74879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15010" b="4142"/>
            </a:stretch>
          </a:blipFill>
        </p:spPr>
        <p:txBody>
          <a:bodyPr wrap="square" lIns="0" tIns="0" rIns="0" bIns="0" rtlCol="0"/>
          <a:lstStyle/>
          <a:p>
            <a:endParaRPr sz="1985" dirty="0">
              <a:solidFill>
                <a:srgbClr val="004987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E42394-29D9-8842-9B9F-9B2E2D48222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65951" y="2548114"/>
            <a:ext cx="3172508" cy="80901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205" b="1" i="0">
                <a:solidFill>
                  <a:schemeClr val="tx1"/>
                </a:solidFill>
                <a:latin typeface="Ubuntu" panose="020B0504030602030204" pitchFamily="34" charset="0"/>
              </a:defRPr>
            </a:lvl1pPr>
            <a:lvl2pPr>
              <a:defRPr sz="1985">
                <a:solidFill>
                  <a:schemeClr val="bg2">
                    <a:lumMod val="10000"/>
                    <a:alpha val="65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  <a:alpha val="65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  <a:alpha val="65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  <a:alpha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CBFE626-FC2F-4E86-8795-4D1E74D5C9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5951" y="1156024"/>
            <a:ext cx="11925565" cy="74879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529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E1BA31DA-1F4B-4AEA-B548-D58D61306FB7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253622" y="2548114"/>
            <a:ext cx="3172508" cy="80901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205" b="1" i="0">
                <a:solidFill>
                  <a:schemeClr val="tx1"/>
                </a:solidFill>
                <a:latin typeface="Ubuntu" panose="020B0504030602030204" pitchFamily="34" charset="0"/>
              </a:defRPr>
            </a:lvl1pPr>
            <a:lvl2pPr>
              <a:defRPr sz="1985">
                <a:solidFill>
                  <a:schemeClr val="bg2">
                    <a:lumMod val="10000"/>
                    <a:alpha val="65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  <a:alpha val="65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  <a:alpha val="65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  <a:alpha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0B9D35D2-63C4-4E4E-A034-D103A9C8BA0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7681981" y="2548114"/>
            <a:ext cx="3172508" cy="80901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205" b="1" i="0">
                <a:solidFill>
                  <a:schemeClr val="tx1"/>
                </a:solidFill>
                <a:latin typeface="Ubuntu" panose="020B0504030602030204" pitchFamily="34" charset="0"/>
              </a:defRPr>
            </a:lvl1pPr>
            <a:lvl2pPr>
              <a:defRPr sz="1985">
                <a:solidFill>
                  <a:schemeClr val="bg2">
                    <a:lumMod val="10000"/>
                    <a:alpha val="65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  <a:alpha val="65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  <a:alpha val="65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  <a:alpha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05A0A530-3747-4036-94FF-DA6A4355AB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65951" y="3487808"/>
            <a:ext cx="3172508" cy="312004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4508A6A5-43F4-43D1-9A2F-C4C669E1FAF8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241760" y="3487808"/>
            <a:ext cx="3172508" cy="312004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86F798E5-E975-4F32-BB4C-C101F04DFD4E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7670117" y="3487808"/>
            <a:ext cx="3172508" cy="312004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790748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ject 3">
            <a:extLst>
              <a:ext uri="{FF2B5EF4-FFF2-40B4-BE49-F238E27FC236}">
                <a16:creationId xmlns:a16="http://schemas.microsoft.com/office/drawing/2014/main" id="{E6F4BC12-FF2A-684D-91B4-D8E527202614}"/>
              </a:ext>
            </a:extLst>
          </p:cNvPr>
          <p:cNvSpPr/>
          <p:nvPr userDrawn="1"/>
        </p:nvSpPr>
        <p:spPr>
          <a:xfrm>
            <a:off x="0" y="1771305"/>
            <a:ext cx="13444538" cy="74879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15010" b="4142"/>
            </a:stretch>
          </a:blipFill>
        </p:spPr>
        <p:txBody>
          <a:bodyPr wrap="square" lIns="0" tIns="0" rIns="0" bIns="0" rtlCol="0"/>
          <a:lstStyle/>
          <a:p>
            <a:endParaRPr sz="1985" dirty="0">
              <a:solidFill>
                <a:srgbClr val="004987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E42394-29D9-8842-9B9F-9B2E2D48222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65951" y="3340457"/>
            <a:ext cx="3172508" cy="80901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205" b="1" i="0">
                <a:solidFill>
                  <a:schemeClr val="tx1"/>
                </a:solidFill>
                <a:latin typeface="Ubuntu" panose="020B0504030602030204" pitchFamily="34" charset="0"/>
              </a:defRPr>
            </a:lvl1pPr>
            <a:lvl2pPr>
              <a:defRPr sz="1985">
                <a:solidFill>
                  <a:schemeClr val="bg2">
                    <a:lumMod val="10000"/>
                    <a:alpha val="65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  <a:alpha val="65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  <a:alpha val="65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  <a:alpha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CBFE626-FC2F-4E86-8795-4D1E74D5C9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5951" y="1156024"/>
            <a:ext cx="11925565" cy="74879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529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E1BA31DA-1F4B-4AEA-B548-D58D61306FB7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253622" y="3340457"/>
            <a:ext cx="3172508" cy="80901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205" b="1" i="0">
                <a:solidFill>
                  <a:schemeClr val="tx1"/>
                </a:solidFill>
                <a:latin typeface="Ubuntu" panose="020B0504030602030204" pitchFamily="34" charset="0"/>
              </a:defRPr>
            </a:lvl1pPr>
            <a:lvl2pPr>
              <a:defRPr sz="1985">
                <a:solidFill>
                  <a:schemeClr val="bg2">
                    <a:lumMod val="10000"/>
                    <a:alpha val="65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  <a:alpha val="65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  <a:alpha val="65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  <a:alpha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0B9D35D2-63C4-4E4E-A034-D103A9C8BA0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7681981" y="3340457"/>
            <a:ext cx="3172508" cy="80901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205" b="1" i="0">
                <a:solidFill>
                  <a:schemeClr val="tx1"/>
                </a:solidFill>
                <a:latin typeface="Ubuntu" panose="020B0504030602030204" pitchFamily="34" charset="0"/>
              </a:defRPr>
            </a:lvl1pPr>
            <a:lvl2pPr>
              <a:defRPr sz="1985">
                <a:solidFill>
                  <a:schemeClr val="bg2">
                    <a:lumMod val="10000"/>
                    <a:alpha val="65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  <a:alpha val="65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  <a:alpha val="65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  <a:alpha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E64C8AE8-78B1-4459-BC1E-BEF83703481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65951" y="4307906"/>
            <a:ext cx="3172508" cy="229994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0CE68B4A-D0C9-4AE1-8CCE-9CBAD939C991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4241760" y="4307906"/>
            <a:ext cx="3172508" cy="229994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68F30C1A-B762-4043-9C0F-80D016733CF3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7670117" y="4307906"/>
            <a:ext cx="3172508" cy="229994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40117054-C015-4C26-BE72-5F382FFFC8A6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782954" y="2433222"/>
            <a:ext cx="6275429" cy="7487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accent2"/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713896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E42394-29D9-8842-9B9F-9B2E2D48222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65951" y="2580266"/>
            <a:ext cx="5713172" cy="4231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894C020-EBBD-425E-9804-77971AC14D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5951" y="1156023"/>
            <a:ext cx="11925565" cy="957284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3529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E09F0DB-AF16-49F7-99F0-251398E4382B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966172" y="2580266"/>
            <a:ext cx="5713172" cy="4231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11270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FB67CC5-962E-EE48-966E-1594E5079941}"/>
              </a:ext>
            </a:extLst>
          </p:cNvPr>
          <p:cNvSpPr/>
          <p:nvPr userDrawn="1"/>
        </p:nvSpPr>
        <p:spPr>
          <a:xfrm>
            <a:off x="607456" y="2048272"/>
            <a:ext cx="6036037" cy="49088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52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9A6498-FAD9-934A-9A2F-AFC9EF69D0C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47437" y="2303249"/>
            <a:ext cx="5567323" cy="71426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646" b="1">
                <a:solidFill>
                  <a:schemeClr val="tx1"/>
                </a:solidFill>
              </a:defRPr>
            </a:lvl1pPr>
            <a:lvl2pPr marL="504154" indent="0">
              <a:buNone/>
              <a:defRPr sz="2205" b="1"/>
            </a:lvl2pPr>
            <a:lvl3pPr marL="1008309" indent="0">
              <a:buNone/>
              <a:defRPr sz="1985" b="1"/>
            </a:lvl3pPr>
            <a:lvl4pPr marL="1512463" indent="0">
              <a:buNone/>
              <a:defRPr sz="1764" b="1"/>
            </a:lvl4pPr>
            <a:lvl5pPr marL="2016618" indent="0">
              <a:buNone/>
              <a:defRPr sz="1764" b="1"/>
            </a:lvl5pPr>
            <a:lvl6pPr marL="2520772" indent="0">
              <a:buNone/>
              <a:defRPr sz="1764" b="1"/>
            </a:lvl6pPr>
            <a:lvl7pPr marL="3024927" indent="0">
              <a:buNone/>
              <a:defRPr sz="1764" b="1"/>
            </a:lvl7pPr>
            <a:lvl8pPr marL="3529081" indent="0">
              <a:buNone/>
              <a:defRPr sz="1764" b="1"/>
            </a:lvl8pPr>
            <a:lvl9pPr marL="4033236" indent="0">
              <a:buNone/>
              <a:defRPr sz="1764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4BB8BA-E050-6641-B852-B8EA5E7367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47436" y="3210296"/>
            <a:ext cx="5567325" cy="320031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  <a:alpha val="75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  <a:alpha val="75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  <a:alpha val="75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  <a:alpha val="75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  <a:alpha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AC2A621-35AD-1C4F-B4CA-792D325DB1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7884" y="1115656"/>
            <a:ext cx="11348771" cy="74879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algn="ctr">
              <a:defRPr sz="3529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D877B6-B5CF-41F5-9848-36E8759C1D5C}"/>
              </a:ext>
            </a:extLst>
          </p:cNvPr>
          <p:cNvSpPr/>
          <p:nvPr userDrawn="1"/>
        </p:nvSpPr>
        <p:spPr>
          <a:xfrm>
            <a:off x="6807677" y="2048272"/>
            <a:ext cx="6036037" cy="49088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52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F0A6ECA-D8F2-4110-8C96-A5AF5B16BA6B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7047658" y="2303249"/>
            <a:ext cx="5567323" cy="71426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646" b="1">
                <a:solidFill>
                  <a:schemeClr val="tx1"/>
                </a:solidFill>
              </a:defRPr>
            </a:lvl1pPr>
            <a:lvl2pPr marL="504154" indent="0">
              <a:buNone/>
              <a:defRPr sz="2205" b="1"/>
            </a:lvl2pPr>
            <a:lvl3pPr marL="1008309" indent="0">
              <a:buNone/>
              <a:defRPr sz="1985" b="1"/>
            </a:lvl3pPr>
            <a:lvl4pPr marL="1512463" indent="0">
              <a:buNone/>
              <a:defRPr sz="1764" b="1"/>
            </a:lvl4pPr>
            <a:lvl5pPr marL="2016618" indent="0">
              <a:buNone/>
              <a:defRPr sz="1764" b="1"/>
            </a:lvl5pPr>
            <a:lvl6pPr marL="2520772" indent="0">
              <a:buNone/>
              <a:defRPr sz="1764" b="1"/>
            </a:lvl6pPr>
            <a:lvl7pPr marL="3024927" indent="0">
              <a:buNone/>
              <a:defRPr sz="1764" b="1"/>
            </a:lvl7pPr>
            <a:lvl8pPr marL="3529081" indent="0">
              <a:buNone/>
              <a:defRPr sz="1764" b="1"/>
            </a:lvl8pPr>
            <a:lvl9pPr marL="4033236" indent="0">
              <a:buNone/>
              <a:defRPr sz="1764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A77A9BB1-126E-4B04-953A-D785BB360F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7047657" y="3210296"/>
            <a:ext cx="5567325" cy="320031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  <a:alpha val="75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  <a:alpha val="75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  <a:alpha val="75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  <a:alpha val="75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  <a:alpha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745300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Main Thou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580F2C4-FF22-0542-8447-013CE4480895}"/>
              </a:ext>
            </a:extLst>
          </p:cNvPr>
          <p:cNvSpPr/>
          <p:nvPr userDrawn="1"/>
        </p:nvSpPr>
        <p:spPr>
          <a:xfrm>
            <a:off x="6801046" y="1164778"/>
            <a:ext cx="6036037" cy="507828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 dirty="0">
              <a:solidFill>
                <a:srgbClr val="FFFFFF"/>
              </a:solidFill>
            </a:endParaRPr>
          </a:p>
        </p:txBody>
      </p:sp>
      <p:sp>
        <p:nvSpPr>
          <p:cNvPr id="2" name="Right Triangle 1">
            <a:extLst>
              <a:ext uri="{FF2B5EF4-FFF2-40B4-BE49-F238E27FC236}">
                <a16:creationId xmlns:a16="http://schemas.microsoft.com/office/drawing/2014/main" id="{CB76B432-A13A-2D4D-99E0-6E9ED849FB84}"/>
              </a:ext>
            </a:extLst>
          </p:cNvPr>
          <p:cNvSpPr/>
          <p:nvPr userDrawn="1"/>
        </p:nvSpPr>
        <p:spPr>
          <a:xfrm rot="5400000">
            <a:off x="8866730" y="6243072"/>
            <a:ext cx="682139" cy="682112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AF1214F-DEF9-4046-876F-0B4A9EA10F07}"/>
              </a:ext>
            </a:extLst>
          </p:cNvPr>
          <p:cNvSpPr txBox="1">
            <a:spLocks/>
          </p:cNvSpPr>
          <p:nvPr userDrawn="1"/>
        </p:nvSpPr>
        <p:spPr>
          <a:xfrm>
            <a:off x="7516593" y="1571887"/>
            <a:ext cx="4604946" cy="4241128"/>
          </a:xfrm>
          <a:prstGeom prst="rect">
            <a:avLst/>
          </a:prstGeom>
        </p:spPr>
        <p:txBody>
          <a:bodyPr vert="horz" lIns="0" tIns="50417" rIns="100834" bIns="50417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accent4"/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970" dirty="0">
                <a:solidFill>
                  <a:srgbClr val="FFFFFF"/>
                </a:solidFill>
              </a:rPr>
              <a:t>Click to edit Master subtitle style</a:t>
            </a:r>
            <a:endParaRPr lang="ru-RU" sz="3970" dirty="0">
              <a:solidFill>
                <a:srgbClr val="FFFFFF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AC15D0E-0B44-4F2E-9AC2-55A6504D63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2345" y="1536676"/>
            <a:ext cx="5556599" cy="1302491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defRPr sz="463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33AC5BB7-09A9-43A1-8495-08B8CC6DBF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2954" y="2944686"/>
            <a:ext cx="5556600" cy="6225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accent2"/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66A21C87-E36E-43EA-9294-E36CFC802C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72345" y="3672800"/>
            <a:ext cx="5556600" cy="27778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40687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Slide Simp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80A61CD-A1CB-4B68-8583-78173E40BA64}"/>
              </a:ext>
            </a:extLst>
          </p:cNvPr>
          <p:cNvSpPr/>
          <p:nvPr userDrawn="1"/>
        </p:nvSpPr>
        <p:spPr>
          <a:xfrm>
            <a:off x="0" y="7421911"/>
            <a:ext cx="13444538" cy="140939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6CDD70-F9B7-2143-9849-DDD04983E2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40304" y="1789009"/>
            <a:ext cx="8523916" cy="2164487"/>
          </a:xfrm>
          <a:prstGeom prst="rect">
            <a:avLst/>
          </a:prstGeom>
          <a:noFill/>
        </p:spPr>
        <p:txBody>
          <a:bodyPr anchor="b"/>
          <a:lstStyle>
            <a:lvl1pPr algn="l">
              <a:defRPr sz="661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876A9A5-3EC2-F24E-8A78-64505D8609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40305" y="4044383"/>
            <a:ext cx="7515551" cy="82381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646">
                <a:solidFill>
                  <a:schemeClr val="bg1">
                    <a:alpha val="85000"/>
                  </a:schemeClr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883B903-8754-7749-B5F0-47957463B9CE}"/>
              </a:ext>
            </a:extLst>
          </p:cNvPr>
          <p:cNvGrpSpPr/>
          <p:nvPr userDrawn="1"/>
        </p:nvGrpSpPr>
        <p:grpSpPr>
          <a:xfrm>
            <a:off x="523026" y="6304428"/>
            <a:ext cx="8636759" cy="1048495"/>
            <a:chOff x="383300" y="5571948"/>
            <a:chExt cx="11626376" cy="1411376"/>
          </a:xfrm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FE102B69-9AB2-364B-9281-E5B89C29417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6512300" y="5571948"/>
              <a:ext cx="1411376" cy="1411376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0FDF079C-F173-1940-8221-0D93A25A2F8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8555300" y="5571948"/>
              <a:ext cx="1411376" cy="1411376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6D07F488-D4F6-0C47-81F2-3F713FDEA94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10598300" y="5571948"/>
              <a:ext cx="1411376" cy="1411376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E2BC3405-90D0-F34A-98AA-B44F4BA513D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2426300" y="5571948"/>
              <a:ext cx="1411376" cy="1411376"/>
            </a:xfrm>
            <a:prstGeom prst="rect">
              <a:avLst/>
            </a:prstGeom>
          </p:spPr>
        </p:pic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A1939122-BE95-6043-A027-3EA3F47C408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383300" y="5571948"/>
              <a:ext cx="1411376" cy="1411376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96C08B5C-AEFF-844E-9ACE-B62CB0EE06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p:blipFill>
          <p:spPr>
            <a:xfrm>
              <a:off x="4469300" y="5571948"/>
              <a:ext cx="1411376" cy="1411376"/>
            </a:xfrm>
            <a:prstGeom prst="rect">
              <a:avLst/>
            </a:prstGeom>
          </p:spPr>
        </p:pic>
      </p:grpSp>
      <p:sp>
        <p:nvSpPr>
          <p:cNvPr id="18" name="object 3">
            <a:extLst>
              <a:ext uri="{FF2B5EF4-FFF2-40B4-BE49-F238E27FC236}">
                <a16:creationId xmlns:a16="http://schemas.microsoft.com/office/drawing/2014/main" id="{7E847CD3-E336-6A44-A4C0-6D6FC7DDD47C}"/>
              </a:ext>
            </a:extLst>
          </p:cNvPr>
          <p:cNvSpPr/>
          <p:nvPr userDrawn="1"/>
        </p:nvSpPr>
        <p:spPr>
          <a:xfrm>
            <a:off x="0" y="5798208"/>
            <a:ext cx="13444538" cy="942478"/>
          </a:xfrm>
          <a:prstGeom prst="rect">
            <a:avLst/>
          </a:prstGeom>
          <a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11925" b="23841"/>
            </a:stretch>
          </a:blipFill>
        </p:spPr>
        <p:txBody>
          <a:bodyPr wrap="square" lIns="0" tIns="0" rIns="0" bIns="0" rtlCol="0"/>
          <a:lstStyle/>
          <a:p>
            <a:endParaRPr sz="1985" dirty="0">
              <a:solidFill>
                <a:srgbClr val="004987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50D7A7AE-EB14-4772-B1BF-EDC6F8EC5B2A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1624183" y="442217"/>
            <a:ext cx="3898916" cy="739479"/>
          </a:xfrm>
          <a:prstGeom prst="rect">
            <a:avLst/>
          </a:prstGeom>
        </p:spPr>
      </p:pic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498ACC79-3FE6-4F94-97AE-BD5ED7B32E6E}"/>
              </a:ext>
            </a:extLst>
          </p:cNvPr>
          <p:cNvSpPr txBox="1">
            <a:spLocks/>
          </p:cNvSpPr>
          <p:nvPr userDrawn="1"/>
        </p:nvSpPr>
        <p:spPr>
          <a:xfrm>
            <a:off x="9628993" y="6691710"/>
            <a:ext cx="2664178" cy="273931"/>
          </a:xfrm>
          <a:prstGeom prst="rect">
            <a:avLst/>
          </a:prstGeom>
        </p:spPr>
        <p:txBody>
          <a:bodyPr vert="horz" lIns="0" tIns="50417" rIns="0" bIns="50417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en-US" sz="1544" dirty="0">
                <a:solidFill>
                  <a:srgbClr val="FFFFFF"/>
                </a:solidFill>
              </a:rPr>
              <a:t>communigate.ru</a:t>
            </a:r>
            <a:endParaRPr lang="ru-RU" sz="1544" dirty="0">
              <a:solidFill>
                <a:srgbClr val="FFFFFF"/>
              </a:solidFill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A2A9D4DE-762F-496D-B444-E33898E241A2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727" y="541184"/>
            <a:ext cx="1169246" cy="375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3712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o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1339B5-31B8-4A30-9025-76993E6E0B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98414" y="1001377"/>
            <a:ext cx="3441299" cy="3424310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B3801004-3341-2546-BAF4-70A8CC06D981}"/>
              </a:ext>
            </a:extLst>
          </p:cNvPr>
          <p:cNvSpPr txBox="1">
            <a:spLocks/>
          </p:cNvSpPr>
          <p:nvPr userDrawn="1"/>
        </p:nvSpPr>
        <p:spPr>
          <a:xfrm>
            <a:off x="8866742" y="1890713"/>
            <a:ext cx="1904645" cy="1676567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200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0586" dirty="0">
                <a:solidFill>
                  <a:srgbClr val="EE7500"/>
                </a:solidFill>
                <a:latin typeface="Ubuntu Regular" panose="020B0504030602030204" pitchFamily="34" charset="0"/>
              </a:rPr>
              <a:t>12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615D45C6-AD73-4189-8598-2D7B96DB59D6}"/>
              </a:ext>
            </a:extLst>
          </p:cNvPr>
          <p:cNvSpPr txBox="1">
            <a:spLocks/>
          </p:cNvSpPr>
          <p:nvPr userDrawn="1"/>
        </p:nvSpPr>
        <p:spPr>
          <a:xfrm>
            <a:off x="8014666" y="4660461"/>
            <a:ext cx="3608797" cy="1827995"/>
          </a:xfrm>
          <a:prstGeom prst="rect">
            <a:avLst/>
          </a:prstGeom>
        </p:spPr>
        <p:txBody>
          <a:bodyPr vert="horz" lIns="100834" tIns="50417" rIns="100834" bIns="50417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accent4"/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646" dirty="0">
                <a:solidFill>
                  <a:srgbClr val="EE7500"/>
                </a:solidFill>
              </a:rPr>
              <a:t>Click to edit Master subtitle style</a:t>
            </a:r>
            <a:endParaRPr lang="ru-RU" sz="2646" dirty="0">
              <a:solidFill>
                <a:srgbClr val="EE7500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1800FF7-9559-4F7D-BF32-C9428E2E44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2345" y="1536676"/>
            <a:ext cx="5556599" cy="1302491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defRPr sz="463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D95E6C58-D5BE-4245-8C79-23BB4BF03B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2954" y="2944686"/>
            <a:ext cx="5556600" cy="6225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bg2">
                    <a:lumMod val="10000"/>
                  </a:schemeClr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CC910370-79E9-4B88-B6FF-FB3EA4E73E6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72345" y="3672800"/>
            <a:ext cx="5556600" cy="27778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20749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oid+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2">
            <a:extLst>
              <a:ext uri="{FF2B5EF4-FFF2-40B4-BE49-F238E27FC236}">
                <a16:creationId xmlns:a16="http://schemas.microsoft.com/office/drawing/2014/main" id="{45C64D1C-2C7E-4384-968B-4899A73FE737}"/>
              </a:ext>
            </a:extLst>
          </p:cNvPr>
          <p:cNvSpPr/>
          <p:nvPr userDrawn="1"/>
        </p:nvSpPr>
        <p:spPr>
          <a:xfrm>
            <a:off x="6801047" y="848235"/>
            <a:ext cx="6036036" cy="603627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616D870-54B0-EF49-B856-06505B31FD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332402" y="662651"/>
            <a:ext cx="4973323" cy="4973519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0AF1214F-DEF9-4046-876F-0B4A9EA10F07}"/>
              </a:ext>
            </a:extLst>
          </p:cNvPr>
          <p:cNvSpPr txBox="1">
            <a:spLocks/>
          </p:cNvSpPr>
          <p:nvPr userDrawn="1"/>
        </p:nvSpPr>
        <p:spPr>
          <a:xfrm>
            <a:off x="8014666" y="4151522"/>
            <a:ext cx="3608797" cy="1827995"/>
          </a:xfrm>
          <a:prstGeom prst="rect">
            <a:avLst/>
          </a:prstGeom>
        </p:spPr>
        <p:txBody>
          <a:bodyPr vert="horz" lIns="100834" tIns="50417" rIns="100834" bIns="50417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accent4"/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646" dirty="0">
                <a:solidFill>
                  <a:srgbClr val="FFFFFF"/>
                </a:solidFill>
              </a:rPr>
              <a:t>Click to edit Master subtitle style</a:t>
            </a:r>
            <a:endParaRPr lang="ru-RU" sz="2646" dirty="0">
              <a:solidFill>
                <a:srgbClr val="FFFFFF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3AE1201-4C24-474C-BA7B-C96EE09C6A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2345" y="1536676"/>
            <a:ext cx="5556599" cy="1302491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defRPr sz="463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C62DAFF-EBB1-4939-90D4-1025320B56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2954" y="2944686"/>
            <a:ext cx="5556600" cy="6225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accent2"/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4B68E7B-6107-490A-BEF2-E6003A0680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72345" y="3672800"/>
            <a:ext cx="5556600" cy="27778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72754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acto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40D516A-F3E2-ED42-A746-7D6DDC7ADF4B}"/>
              </a:ext>
            </a:extLst>
          </p:cNvPr>
          <p:cNvSpPr/>
          <p:nvPr userDrawn="1"/>
        </p:nvSpPr>
        <p:spPr>
          <a:xfrm>
            <a:off x="6801046" y="1164778"/>
            <a:ext cx="6036037" cy="579234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616D870-54B0-EF49-B856-06505B31FD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332403" y="1005998"/>
            <a:ext cx="4973323" cy="4973519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0AF1214F-DEF9-4046-876F-0B4A9EA10F07}"/>
              </a:ext>
            </a:extLst>
          </p:cNvPr>
          <p:cNvSpPr txBox="1">
            <a:spLocks/>
          </p:cNvSpPr>
          <p:nvPr userDrawn="1"/>
        </p:nvSpPr>
        <p:spPr>
          <a:xfrm>
            <a:off x="8014667" y="4493484"/>
            <a:ext cx="3608797" cy="1486034"/>
          </a:xfrm>
          <a:prstGeom prst="rect">
            <a:avLst/>
          </a:prstGeom>
        </p:spPr>
        <p:txBody>
          <a:bodyPr vert="horz" lIns="100834" tIns="50417" rIns="100834" bIns="50417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accent4"/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646" dirty="0">
                <a:solidFill>
                  <a:srgbClr val="FFFFFF"/>
                </a:solidFill>
              </a:rPr>
              <a:t>Click to edit Master subtitle style</a:t>
            </a:r>
            <a:endParaRPr lang="ru-RU" sz="2646" dirty="0">
              <a:solidFill>
                <a:srgbClr val="FFFFFF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DBCD169-03BF-4134-BCFE-B4AC25E076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2345" y="1536676"/>
            <a:ext cx="5556599" cy="1302491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defRPr sz="463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F84E9CE-2C7F-4D71-9CDD-F8FF9C645D6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2954" y="2944686"/>
            <a:ext cx="5556600" cy="6225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accent2"/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99E3A84C-10AF-41D6-AAE4-C0115227B3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72345" y="3672800"/>
            <a:ext cx="5556600" cy="27778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82243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mo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2ED01D9-D292-8A43-9BD2-AA256F27B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22270" y="0"/>
            <a:ext cx="6722268" cy="7564804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8EEB7EB-F673-4C2E-9347-F8CF62A500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2345" y="1536676"/>
            <a:ext cx="5556599" cy="1302491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defRPr sz="463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3BB7A59B-C235-473E-B55E-B04D8D3CDC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2954" y="2944686"/>
            <a:ext cx="5556600" cy="6225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accent2"/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1779A809-50BD-4B7A-938A-0064358A8F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72345" y="3672800"/>
            <a:ext cx="5556600" cy="27778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6876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mo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3E8A147-8648-5845-BE23-6FE9C0747E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22269" y="0"/>
            <a:ext cx="6722269" cy="756285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42F09C37-D91E-4970-A36D-0CA6235D91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2345" y="1536676"/>
            <a:ext cx="5556599" cy="1302491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defRPr sz="463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5AC1D67-046D-4771-B42C-6A647365A6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2954" y="2944686"/>
            <a:ext cx="5556600" cy="6225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accent2"/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D7A86B1-1347-4AAC-92C8-88CA7825C3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72345" y="3672800"/>
            <a:ext cx="5556600" cy="27778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461473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s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9967407B-AB79-BF48-B4D2-804FFA8F838F}"/>
              </a:ext>
            </a:extLst>
          </p:cNvPr>
          <p:cNvSpPr/>
          <p:nvPr userDrawn="1"/>
        </p:nvSpPr>
        <p:spPr>
          <a:xfrm>
            <a:off x="518999" y="1164778"/>
            <a:ext cx="6203270" cy="584781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E9B7D6CB-CE1D-7948-B001-12FC89A19802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780063" y="2471792"/>
            <a:ext cx="5632637" cy="41568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85">
                <a:solidFill>
                  <a:schemeClr val="bg1"/>
                </a:solidFill>
              </a:defRPr>
            </a:lvl1pPr>
            <a:lvl2pPr>
              <a:defRPr sz="1764">
                <a:solidFill>
                  <a:schemeClr val="bg1"/>
                </a:solidFill>
              </a:defRPr>
            </a:lvl2pPr>
            <a:lvl3pPr>
              <a:defRPr sz="1544">
                <a:solidFill>
                  <a:schemeClr val="bg1"/>
                </a:solidFill>
              </a:defRPr>
            </a:lvl3pPr>
            <a:lvl4pPr>
              <a:defRPr sz="1323">
                <a:solidFill>
                  <a:schemeClr val="bg1"/>
                </a:solidFill>
              </a:defRPr>
            </a:lvl4pPr>
            <a:lvl5pPr>
              <a:defRPr sz="1323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BBAA284-2DC4-5448-851A-BECB3A82EB21}"/>
              </a:ext>
            </a:extLst>
          </p:cNvPr>
          <p:cNvSpPr/>
          <p:nvPr userDrawn="1"/>
        </p:nvSpPr>
        <p:spPr>
          <a:xfrm>
            <a:off x="6732585" y="1164778"/>
            <a:ext cx="6182675" cy="584781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0DDB42FC-A81D-A34A-AC79-D161521EDAF2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973020" y="2471792"/>
            <a:ext cx="5632637" cy="41568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85">
                <a:solidFill>
                  <a:schemeClr val="bg1"/>
                </a:solidFill>
              </a:defRPr>
            </a:lvl1pPr>
            <a:lvl2pPr>
              <a:defRPr sz="1764">
                <a:solidFill>
                  <a:schemeClr val="bg1"/>
                </a:solidFill>
              </a:defRPr>
            </a:lvl2pPr>
            <a:lvl3pPr>
              <a:defRPr sz="1544">
                <a:solidFill>
                  <a:schemeClr val="bg1"/>
                </a:solidFill>
              </a:defRPr>
            </a:lvl3pPr>
            <a:lvl4pPr>
              <a:defRPr sz="1323">
                <a:solidFill>
                  <a:schemeClr val="bg1"/>
                </a:solidFill>
              </a:defRPr>
            </a:lvl4pPr>
            <a:lvl5pPr>
              <a:defRPr sz="1323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4D901BB-7C1D-5043-9981-F3F20FA25B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68506" y="1418248"/>
            <a:ext cx="5662293" cy="8506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646" b="1" i="0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DEBB4DD-D30B-1042-9EC5-66EECF85E6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0407" y="1418248"/>
            <a:ext cx="5662293" cy="8506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646" b="1" i="0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187872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9967407B-AB79-BF48-B4D2-804FFA8F838F}"/>
              </a:ext>
            </a:extLst>
          </p:cNvPr>
          <p:cNvSpPr/>
          <p:nvPr userDrawn="1"/>
        </p:nvSpPr>
        <p:spPr>
          <a:xfrm>
            <a:off x="-20628" y="2199539"/>
            <a:ext cx="6742897" cy="32087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E9B7D6CB-CE1D-7948-B001-12FC89A19802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858162" y="3406026"/>
            <a:ext cx="5554538" cy="16358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85">
                <a:solidFill>
                  <a:schemeClr val="bg1"/>
                </a:solidFill>
              </a:defRPr>
            </a:lvl1pPr>
            <a:lvl2pPr>
              <a:defRPr sz="1764">
                <a:solidFill>
                  <a:schemeClr val="bg1"/>
                </a:solidFill>
              </a:defRPr>
            </a:lvl2pPr>
            <a:lvl3pPr>
              <a:defRPr sz="1544">
                <a:solidFill>
                  <a:schemeClr val="bg1"/>
                </a:solidFill>
              </a:defRPr>
            </a:lvl3pPr>
            <a:lvl4pPr>
              <a:defRPr sz="1323">
                <a:solidFill>
                  <a:schemeClr val="bg1"/>
                </a:solidFill>
              </a:defRPr>
            </a:lvl4pPr>
            <a:lvl5pPr>
              <a:defRPr sz="1323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BBAA284-2DC4-5448-851A-BECB3A82EB21}"/>
              </a:ext>
            </a:extLst>
          </p:cNvPr>
          <p:cNvSpPr/>
          <p:nvPr userDrawn="1"/>
        </p:nvSpPr>
        <p:spPr>
          <a:xfrm>
            <a:off x="6722270" y="2199539"/>
            <a:ext cx="6722268" cy="32087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0DDB42FC-A81D-A34A-AC79-D161521EDAF2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977012" y="3406025"/>
            <a:ext cx="5632637" cy="16358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85">
                <a:solidFill>
                  <a:schemeClr val="bg1"/>
                </a:solidFill>
              </a:defRPr>
            </a:lvl1pPr>
            <a:lvl2pPr>
              <a:defRPr sz="1764">
                <a:solidFill>
                  <a:schemeClr val="bg1"/>
                </a:solidFill>
              </a:defRPr>
            </a:lvl2pPr>
            <a:lvl3pPr>
              <a:defRPr sz="1544">
                <a:solidFill>
                  <a:schemeClr val="bg1"/>
                </a:solidFill>
              </a:defRPr>
            </a:lvl3pPr>
            <a:lvl4pPr>
              <a:defRPr sz="1323">
                <a:solidFill>
                  <a:schemeClr val="bg1"/>
                </a:solidFill>
              </a:defRPr>
            </a:lvl4pPr>
            <a:lvl5pPr>
              <a:defRPr sz="1323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4D901BB-7C1D-5043-9981-F3F20FA25B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77012" y="2499912"/>
            <a:ext cx="5632637" cy="783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646" b="1" i="0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DEBB4DD-D30B-1042-9EC5-66EECF85E6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58162" y="2499912"/>
            <a:ext cx="5554537" cy="783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646" b="1" i="0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87728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9967407B-AB79-BF48-B4D2-804FFA8F838F}"/>
              </a:ext>
            </a:extLst>
          </p:cNvPr>
          <p:cNvSpPr/>
          <p:nvPr userDrawn="1"/>
        </p:nvSpPr>
        <p:spPr>
          <a:xfrm>
            <a:off x="521964" y="1167432"/>
            <a:ext cx="6200305" cy="587936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E9B7D6CB-CE1D-7948-B001-12FC89A19802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858162" y="2373919"/>
            <a:ext cx="5554538" cy="16358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85">
                <a:solidFill>
                  <a:schemeClr val="bg1"/>
                </a:solidFill>
              </a:defRPr>
            </a:lvl1pPr>
            <a:lvl2pPr>
              <a:defRPr sz="1764">
                <a:solidFill>
                  <a:schemeClr val="bg1"/>
                </a:solidFill>
              </a:defRPr>
            </a:lvl2pPr>
            <a:lvl3pPr>
              <a:defRPr sz="1544">
                <a:solidFill>
                  <a:schemeClr val="bg1"/>
                </a:solidFill>
              </a:defRPr>
            </a:lvl3pPr>
            <a:lvl4pPr>
              <a:defRPr sz="1323">
                <a:solidFill>
                  <a:schemeClr val="bg1"/>
                </a:solidFill>
              </a:defRPr>
            </a:lvl4pPr>
            <a:lvl5pPr>
              <a:defRPr sz="1323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BBAA284-2DC4-5448-851A-BECB3A82EB21}"/>
              </a:ext>
            </a:extLst>
          </p:cNvPr>
          <p:cNvSpPr/>
          <p:nvPr userDrawn="1"/>
        </p:nvSpPr>
        <p:spPr>
          <a:xfrm>
            <a:off x="6722270" y="1167432"/>
            <a:ext cx="6200305" cy="58793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0DDB42FC-A81D-A34A-AC79-D161521EDAF2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977012" y="2373918"/>
            <a:ext cx="5632637" cy="163587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85">
                <a:solidFill>
                  <a:schemeClr val="bg1"/>
                </a:solidFill>
              </a:defRPr>
            </a:lvl1pPr>
            <a:lvl2pPr>
              <a:defRPr sz="1764">
                <a:solidFill>
                  <a:schemeClr val="bg1"/>
                </a:solidFill>
              </a:defRPr>
            </a:lvl2pPr>
            <a:lvl3pPr>
              <a:defRPr sz="1544">
                <a:solidFill>
                  <a:schemeClr val="bg1"/>
                </a:solidFill>
              </a:defRPr>
            </a:lvl3pPr>
            <a:lvl4pPr>
              <a:defRPr sz="1323">
                <a:solidFill>
                  <a:schemeClr val="bg1"/>
                </a:solidFill>
              </a:defRPr>
            </a:lvl4pPr>
            <a:lvl5pPr>
              <a:defRPr sz="1323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4D901BB-7C1D-5043-9981-F3F20FA25B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77012" y="1467806"/>
            <a:ext cx="5632637" cy="783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646" b="1" i="0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DEBB4DD-D30B-1042-9EC5-66EECF85E6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58162" y="1467806"/>
            <a:ext cx="5554537" cy="783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646" b="1" i="0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34913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s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D37052DF-E284-834E-AEB5-701FCCB09D81}"/>
              </a:ext>
            </a:extLst>
          </p:cNvPr>
          <p:cNvSpPr/>
          <p:nvPr userDrawn="1"/>
        </p:nvSpPr>
        <p:spPr>
          <a:xfrm>
            <a:off x="509124" y="1164779"/>
            <a:ext cx="4142097" cy="584939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57A1291-309F-A448-8805-666143971B5E}"/>
              </a:ext>
            </a:extLst>
          </p:cNvPr>
          <p:cNvSpPr/>
          <p:nvPr userDrawn="1"/>
        </p:nvSpPr>
        <p:spPr>
          <a:xfrm>
            <a:off x="4651222" y="1164779"/>
            <a:ext cx="4142097" cy="58493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D886BA1-4137-0340-980C-3328677D85AD}"/>
              </a:ext>
            </a:extLst>
          </p:cNvPr>
          <p:cNvSpPr/>
          <p:nvPr userDrawn="1"/>
        </p:nvSpPr>
        <p:spPr>
          <a:xfrm>
            <a:off x="8793318" y="1164779"/>
            <a:ext cx="4142097" cy="58493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5F336436-205A-1E4F-90FB-C56503248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750407" y="2471792"/>
            <a:ext cx="3547263" cy="41568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85">
                <a:solidFill>
                  <a:schemeClr val="bg1"/>
                </a:solidFill>
              </a:defRPr>
            </a:lvl1pPr>
            <a:lvl2pPr>
              <a:defRPr sz="1764">
                <a:solidFill>
                  <a:schemeClr val="bg1"/>
                </a:solidFill>
              </a:defRPr>
            </a:lvl2pPr>
            <a:lvl3pPr>
              <a:defRPr sz="1544">
                <a:solidFill>
                  <a:schemeClr val="bg1"/>
                </a:solidFill>
              </a:defRPr>
            </a:lvl3pPr>
            <a:lvl4pPr>
              <a:defRPr sz="1323">
                <a:solidFill>
                  <a:schemeClr val="bg1"/>
                </a:solidFill>
              </a:defRPr>
            </a:lvl4pPr>
            <a:lvl5pPr>
              <a:defRPr sz="1323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C698417A-AD02-8E4B-BC24-5B910469B87F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902395" y="2471792"/>
            <a:ext cx="3547263" cy="41568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85">
                <a:solidFill>
                  <a:schemeClr val="bg1"/>
                </a:solidFill>
              </a:defRPr>
            </a:lvl1pPr>
            <a:lvl2pPr>
              <a:defRPr sz="1764">
                <a:solidFill>
                  <a:schemeClr val="bg1"/>
                </a:solidFill>
              </a:defRPr>
            </a:lvl2pPr>
            <a:lvl3pPr>
              <a:defRPr sz="1544">
                <a:solidFill>
                  <a:schemeClr val="bg1"/>
                </a:solidFill>
              </a:defRPr>
            </a:lvl3pPr>
            <a:lvl4pPr>
              <a:defRPr sz="1323">
                <a:solidFill>
                  <a:schemeClr val="bg1"/>
                </a:solidFill>
              </a:defRPr>
            </a:lvl4pPr>
            <a:lvl5pPr>
              <a:defRPr sz="1323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A64EBD6-5EDD-634E-9C0A-10C7B4A4B3F5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9023072" y="2471792"/>
            <a:ext cx="3578575" cy="415682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85">
                <a:solidFill>
                  <a:schemeClr val="bg1"/>
                </a:solidFill>
              </a:defRPr>
            </a:lvl1pPr>
            <a:lvl2pPr>
              <a:defRPr sz="1764">
                <a:solidFill>
                  <a:schemeClr val="bg1"/>
                </a:solidFill>
              </a:defRPr>
            </a:lvl2pPr>
            <a:lvl3pPr>
              <a:defRPr sz="1544">
                <a:solidFill>
                  <a:schemeClr val="bg1"/>
                </a:solidFill>
              </a:defRPr>
            </a:lvl3pPr>
            <a:lvl4pPr>
              <a:defRPr sz="1323">
                <a:solidFill>
                  <a:schemeClr val="bg1"/>
                </a:solidFill>
              </a:defRPr>
            </a:lvl4pPr>
            <a:lvl5pPr>
              <a:defRPr sz="1323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5B5FDF-704F-434E-AA3B-4EB73352DE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0407" y="1418248"/>
            <a:ext cx="3547263" cy="85060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2646" b="1" i="0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6DE836A-2232-2F41-993C-83F4968C12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95807" y="1418248"/>
            <a:ext cx="3547263" cy="85060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2646" b="1" i="0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528C85C-13CA-3348-91FE-64F5E31C38A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037904" y="1418248"/>
            <a:ext cx="3578575" cy="85060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2646" b="1" i="0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680901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on Grey"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39591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9E923A3-3679-204B-9CB0-02EE2701976F}"/>
              </a:ext>
            </a:extLst>
          </p:cNvPr>
          <p:cNvSpPr/>
          <p:nvPr userDrawn="1"/>
        </p:nvSpPr>
        <p:spPr>
          <a:xfrm rot="5400000">
            <a:off x="4540496" y="581624"/>
            <a:ext cx="171641" cy="772072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 dirty="0">
              <a:solidFill>
                <a:srgbClr val="FFFFFF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BE37F23-65A4-1A45-904D-B60981A51EF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5951" y="1791483"/>
            <a:ext cx="7708281" cy="240376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defRPr sz="6616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719E7D6B-B0FC-7445-A728-9CD018CFDC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5950" y="4655712"/>
            <a:ext cx="7720729" cy="156620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3970">
                <a:solidFill>
                  <a:schemeClr val="accent2"/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402258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rodu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38">
            <a:extLst>
              <a:ext uri="{FF2B5EF4-FFF2-40B4-BE49-F238E27FC236}">
                <a16:creationId xmlns:a16="http://schemas.microsoft.com/office/drawing/2014/main" id="{859591D9-AEA3-C349-9349-4307EC17724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789291" y="0"/>
            <a:ext cx="3655247" cy="3579799"/>
            <a:chOff x="8433710" y="8224"/>
            <a:chExt cx="2258292" cy="2211591"/>
          </a:xfrm>
        </p:grpSpPr>
        <p:sp>
          <p:nvSpPr>
            <p:cNvPr id="6" name="object 18">
              <a:extLst>
                <a:ext uri="{FF2B5EF4-FFF2-40B4-BE49-F238E27FC236}">
                  <a16:creationId xmlns:a16="http://schemas.microsoft.com/office/drawing/2014/main" id="{BAC2E5BA-FD9F-B24B-87F5-552D73025FA1}"/>
                </a:ext>
              </a:extLst>
            </p:cNvPr>
            <p:cNvSpPr/>
            <p:nvPr userDrawn="1"/>
          </p:nvSpPr>
          <p:spPr>
            <a:xfrm>
              <a:off x="8841302" y="8224"/>
              <a:ext cx="1850700" cy="1879600"/>
            </a:xfrm>
            <a:prstGeom prst="rect">
              <a:avLst/>
            </a:prstGeom>
            <a:blipFill dpi="0" rotWithShape="1">
              <a:blip r:embed="rId2" cstate="print"/>
              <a:srcRect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7" name="object 19">
              <a:extLst>
                <a:ext uri="{FF2B5EF4-FFF2-40B4-BE49-F238E27FC236}">
                  <a16:creationId xmlns:a16="http://schemas.microsoft.com/office/drawing/2014/main" id="{A170098C-D3CA-2249-872D-1FCA5E3188DC}"/>
                </a:ext>
              </a:extLst>
            </p:cNvPr>
            <p:cNvSpPr/>
            <p:nvPr userDrawn="1"/>
          </p:nvSpPr>
          <p:spPr>
            <a:xfrm>
              <a:off x="9876950" y="1995025"/>
              <a:ext cx="269240" cy="224790"/>
            </a:xfrm>
            <a:custGeom>
              <a:avLst/>
              <a:gdLst/>
              <a:ahLst/>
              <a:cxnLst/>
              <a:rect l="l" t="t" r="r" b="b"/>
              <a:pathLst>
                <a:path w="269240" h="224789">
                  <a:moveTo>
                    <a:pt x="99948" y="154305"/>
                  </a:moveTo>
                  <a:lnTo>
                    <a:pt x="0" y="154305"/>
                  </a:lnTo>
                  <a:lnTo>
                    <a:pt x="714" y="165343"/>
                  </a:lnTo>
                  <a:lnTo>
                    <a:pt x="25514" y="203519"/>
                  </a:lnTo>
                  <a:lnTo>
                    <a:pt x="63358" y="218921"/>
                  </a:lnTo>
                  <a:lnTo>
                    <a:pt x="109940" y="224169"/>
                  </a:lnTo>
                  <a:lnTo>
                    <a:pt x="133718" y="224764"/>
                  </a:lnTo>
                  <a:lnTo>
                    <a:pt x="166380" y="223658"/>
                  </a:lnTo>
                  <a:lnTo>
                    <a:pt x="217723" y="214563"/>
                  </a:lnTo>
                  <a:lnTo>
                    <a:pt x="260638" y="183154"/>
                  </a:lnTo>
                  <a:lnTo>
                    <a:pt x="264376" y="173545"/>
                  </a:lnTo>
                  <a:lnTo>
                    <a:pt x="136982" y="173545"/>
                  </a:lnTo>
                  <a:lnTo>
                    <a:pt x="127975" y="173296"/>
                  </a:lnTo>
                  <a:lnTo>
                    <a:pt x="100279" y="161086"/>
                  </a:lnTo>
                  <a:lnTo>
                    <a:pt x="99948" y="154305"/>
                  </a:lnTo>
                  <a:close/>
                </a:path>
                <a:path w="269240" h="224789">
                  <a:moveTo>
                    <a:pt x="124371" y="0"/>
                  </a:moveTo>
                  <a:lnTo>
                    <a:pt x="76619" y="3175"/>
                  </a:lnTo>
                  <a:lnTo>
                    <a:pt x="37909" y="13817"/>
                  </a:lnTo>
                  <a:lnTo>
                    <a:pt x="8183" y="42675"/>
                  </a:lnTo>
                  <a:lnTo>
                    <a:pt x="2755" y="76530"/>
                  </a:lnTo>
                  <a:lnTo>
                    <a:pt x="3962" y="83858"/>
                  </a:lnTo>
                  <a:lnTo>
                    <a:pt x="6146" y="90017"/>
                  </a:lnTo>
                  <a:lnTo>
                    <a:pt x="8064" y="96608"/>
                  </a:lnTo>
                  <a:lnTo>
                    <a:pt x="39744" y="123062"/>
                  </a:lnTo>
                  <a:lnTo>
                    <a:pt x="160705" y="143573"/>
                  </a:lnTo>
                  <a:lnTo>
                    <a:pt x="164668" y="145389"/>
                  </a:lnTo>
                  <a:lnTo>
                    <a:pt x="166852" y="148005"/>
                  </a:lnTo>
                  <a:lnTo>
                    <a:pt x="169062" y="150431"/>
                  </a:lnTo>
                  <a:lnTo>
                    <a:pt x="169900" y="153606"/>
                  </a:lnTo>
                  <a:lnTo>
                    <a:pt x="169900" y="161823"/>
                  </a:lnTo>
                  <a:lnTo>
                    <a:pt x="167843" y="165849"/>
                  </a:lnTo>
                  <a:lnTo>
                    <a:pt x="136982" y="173545"/>
                  </a:lnTo>
                  <a:lnTo>
                    <a:pt x="264376" y="173545"/>
                  </a:lnTo>
                  <a:lnTo>
                    <a:pt x="266709" y="167549"/>
                  </a:lnTo>
                  <a:lnTo>
                    <a:pt x="268608" y="150431"/>
                  </a:lnTo>
                  <a:lnTo>
                    <a:pt x="268620" y="148005"/>
                  </a:lnTo>
                  <a:lnTo>
                    <a:pt x="267656" y="136749"/>
                  </a:lnTo>
                  <a:lnTo>
                    <a:pt x="241071" y="101173"/>
                  </a:lnTo>
                  <a:lnTo>
                    <a:pt x="201269" y="88252"/>
                  </a:lnTo>
                  <a:lnTo>
                    <a:pt x="101904" y="73774"/>
                  </a:lnTo>
                  <a:lnTo>
                    <a:pt x="97904" y="73075"/>
                  </a:lnTo>
                  <a:lnTo>
                    <a:pt x="94995" y="71996"/>
                  </a:lnTo>
                  <a:lnTo>
                    <a:pt x="93281" y="70040"/>
                  </a:lnTo>
                  <a:lnTo>
                    <a:pt x="91922" y="68313"/>
                  </a:lnTo>
                  <a:lnTo>
                    <a:pt x="91033" y="65544"/>
                  </a:lnTo>
                  <a:lnTo>
                    <a:pt x="91033" y="58369"/>
                  </a:lnTo>
                  <a:lnTo>
                    <a:pt x="124371" y="47764"/>
                  </a:lnTo>
                  <a:lnTo>
                    <a:pt x="254472" y="47764"/>
                  </a:lnTo>
                  <a:lnTo>
                    <a:pt x="253790" y="45940"/>
                  </a:lnTo>
                  <a:lnTo>
                    <a:pt x="225882" y="17780"/>
                  </a:lnTo>
                  <a:lnTo>
                    <a:pt x="184365" y="4660"/>
                  </a:lnTo>
                  <a:lnTo>
                    <a:pt x="141231" y="288"/>
                  </a:lnTo>
                  <a:lnTo>
                    <a:pt x="124371" y="0"/>
                  </a:lnTo>
                  <a:close/>
                </a:path>
                <a:path w="269240" h="224789">
                  <a:moveTo>
                    <a:pt x="254472" y="47764"/>
                  </a:moveTo>
                  <a:lnTo>
                    <a:pt x="128993" y="47764"/>
                  </a:lnTo>
                  <a:lnTo>
                    <a:pt x="133426" y="48234"/>
                  </a:lnTo>
                  <a:lnTo>
                    <a:pt x="137871" y="48653"/>
                  </a:lnTo>
                  <a:lnTo>
                    <a:pt x="142481" y="49441"/>
                  </a:lnTo>
                  <a:lnTo>
                    <a:pt x="146735" y="50660"/>
                  </a:lnTo>
                  <a:lnTo>
                    <a:pt x="154266" y="53594"/>
                  </a:lnTo>
                  <a:lnTo>
                    <a:pt x="157391" y="56070"/>
                  </a:lnTo>
                  <a:lnTo>
                    <a:pt x="159486" y="58635"/>
                  </a:lnTo>
                  <a:lnTo>
                    <a:pt x="161683" y="61125"/>
                  </a:lnTo>
                  <a:lnTo>
                    <a:pt x="163029" y="64668"/>
                  </a:lnTo>
                  <a:lnTo>
                    <a:pt x="163029" y="68961"/>
                  </a:lnTo>
                  <a:lnTo>
                    <a:pt x="259219" y="68961"/>
                  </a:lnTo>
                  <a:lnTo>
                    <a:pt x="258276" y="60749"/>
                  </a:lnTo>
                  <a:lnTo>
                    <a:pt x="256457" y="53073"/>
                  </a:lnTo>
                  <a:lnTo>
                    <a:pt x="254472" y="47764"/>
                  </a:lnTo>
                  <a:close/>
                </a:path>
              </a:pathLst>
            </a:custGeom>
            <a:solidFill>
              <a:srgbClr val="A4B4D9">
                <a:alpha val="18000"/>
              </a:srgbClr>
            </a:solidFill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8" name="object 20">
              <a:extLst>
                <a:ext uri="{FF2B5EF4-FFF2-40B4-BE49-F238E27FC236}">
                  <a16:creationId xmlns:a16="http://schemas.microsoft.com/office/drawing/2014/main" id="{4AB03A71-F0CE-4B48-9F95-05B40E3A78EF}"/>
                </a:ext>
              </a:extLst>
            </p:cNvPr>
            <p:cNvSpPr/>
            <p:nvPr userDrawn="1"/>
          </p:nvSpPr>
          <p:spPr>
            <a:xfrm>
              <a:off x="8433710" y="589748"/>
              <a:ext cx="343535" cy="210185"/>
            </a:xfrm>
            <a:custGeom>
              <a:avLst/>
              <a:gdLst/>
              <a:ahLst/>
              <a:cxnLst/>
              <a:rect l="l" t="t" r="r" b="b"/>
              <a:pathLst>
                <a:path w="343534" h="210184">
                  <a:moveTo>
                    <a:pt x="80213" y="0"/>
                  </a:moveTo>
                  <a:lnTo>
                    <a:pt x="0" y="0"/>
                  </a:lnTo>
                  <a:lnTo>
                    <a:pt x="61023" y="210108"/>
                  </a:lnTo>
                  <a:lnTo>
                    <a:pt x="142506" y="210108"/>
                  </a:lnTo>
                  <a:lnTo>
                    <a:pt x="162836" y="128130"/>
                  </a:lnTo>
                  <a:lnTo>
                    <a:pt x="107340" y="128130"/>
                  </a:lnTo>
                  <a:lnTo>
                    <a:pt x="80213" y="0"/>
                  </a:lnTo>
                  <a:close/>
                </a:path>
                <a:path w="343534" h="210184">
                  <a:moveTo>
                    <a:pt x="227292" y="93446"/>
                  </a:moveTo>
                  <a:lnTo>
                    <a:pt x="171919" y="93446"/>
                  </a:lnTo>
                  <a:lnTo>
                    <a:pt x="200571" y="210108"/>
                  </a:lnTo>
                  <a:lnTo>
                    <a:pt x="282003" y="210108"/>
                  </a:lnTo>
                  <a:lnTo>
                    <a:pt x="305956" y="128130"/>
                  </a:lnTo>
                  <a:lnTo>
                    <a:pt x="235597" y="128130"/>
                  </a:lnTo>
                  <a:lnTo>
                    <a:pt x="227292" y="93446"/>
                  </a:lnTo>
                  <a:close/>
                </a:path>
                <a:path w="343534" h="210184">
                  <a:moveTo>
                    <a:pt x="204914" y="0"/>
                  </a:moveTo>
                  <a:lnTo>
                    <a:pt x="138620" y="0"/>
                  </a:lnTo>
                  <a:lnTo>
                    <a:pt x="107810" y="128130"/>
                  </a:lnTo>
                  <a:lnTo>
                    <a:pt x="162836" y="128130"/>
                  </a:lnTo>
                  <a:lnTo>
                    <a:pt x="171437" y="93446"/>
                  </a:lnTo>
                  <a:lnTo>
                    <a:pt x="227292" y="93446"/>
                  </a:lnTo>
                  <a:lnTo>
                    <a:pt x="204914" y="0"/>
                  </a:lnTo>
                  <a:close/>
                </a:path>
                <a:path w="343534" h="210184">
                  <a:moveTo>
                    <a:pt x="343395" y="0"/>
                  </a:moveTo>
                  <a:lnTo>
                    <a:pt x="263283" y="0"/>
                  </a:lnTo>
                  <a:lnTo>
                    <a:pt x="236194" y="128130"/>
                  </a:lnTo>
                  <a:lnTo>
                    <a:pt x="305956" y="128130"/>
                  </a:lnTo>
                  <a:lnTo>
                    <a:pt x="343395" y="0"/>
                  </a:lnTo>
                  <a:close/>
                </a:path>
              </a:pathLst>
            </a:custGeom>
            <a:solidFill>
              <a:srgbClr val="A4B4D9">
                <a:alpha val="18000"/>
              </a:srgbClr>
            </a:solidFill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57A61C70-9B83-D747-B71A-CBD71B2A3796}"/>
              </a:ext>
            </a:extLst>
          </p:cNvPr>
          <p:cNvSpPr/>
          <p:nvPr userDrawn="1"/>
        </p:nvSpPr>
        <p:spPr>
          <a:xfrm>
            <a:off x="603814" y="4171494"/>
            <a:ext cx="1905525" cy="158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8B2968E-66FA-8248-8205-4D1BD9989988}"/>
              </a:ext>
            </a:extLst>
          </p:cNvPr>
          <p:cNvSpPr/>
          <p:nvPr userDrawn="1"/>
        </p:nvSpPr>
        <p:spPr>
          <a:xfrm>
            <a:off x="2672271" y="4171494"/>
            <a:ext cx="1905525" cy="158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6A12958-BBF0-C047-874A-4FD33987DFB2}"/>
              </a:ext>
            </a:extLst>
          </p:cNvPr>
          <p:cNvSpPr/>
          <p:nvPr userDrawn="1"/>
        </p:nvSpPr>
        <p:spPr>
          <a:xfrm>
            <a:off x="4737968" y="4171494"/>
            <a:ext cx="1905525" cy="158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3CEEB5-D177-F748-A0FE-B568C3202018}"/>
              </a:ext>
            </a:extLst>
          </p:cNvPr>
          <p:cNvSpPr/>
          <p:nvPr userDrawn="1"/>
        </p:nvSpPr>
        <p:spPr>
          <a:xfrm>
            <a:off x="6805167" y="4171494"/>
            <a:ext cx="1905525" cy="158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EB5BB9E-0EE3-0649-B43F-3E178B1884DC}"/>
              </a:ext>
            </a:extLst>
          </p:cNvPr>
          <p:cNvSpPr/>
          <p:nvPr userDrawn="1"/>
        </p:nvSpPr>
        <p:spPr>
          <a:xfrm>
            <a:off x="8873432" y="4171494"/>
            <a:ext cx="1905525" cy="158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F6D948B-AF40-BF47-AC1B-6796D3FB5317}"/>
              </a:ext>
            </a:extLst>
          </p:cNvPr>
          <p:cNvSpPr/>
          <p:nvPr userDrawn="1"/>
        </p:nvSpPr>
        <p:spPr>
          <a:xfrm>
            <a:off x="10929833" y="4171494"/>
            <a:ext cx="1905525" cy="158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DD631715-62CB-D647-8DD2-D6A29508F1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979743" y="4171494"/>
            <a:ext cx="1556373" cy="1556434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3832AC03-A4DA-1F4A-A06F-61E97C06E42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9046969" y="4171494"/>
            <a:ext cx="1556373" cy="15564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AA469B08-65F6-314E-A3E6-18A8E49AE25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1104409" y="4171494"/>
            <a:ext cx="1556373" cy="1556434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30BD75F0-C04B-B646-B298-B1A82BE31FE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2846847" y="4171494"/>
            <a:ext cx="1556373" cy="1556434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C31F28DD-1113-E949-886B-6CF88967C2B9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778390" y="4171494"/>
            <a:ext cx="1556373" cy="1556434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A88DCB35-AEAE-4C46-890C-EC9B827D3184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4912544" y="4171494"/>
            <a:ext cx="1556373" cy="1556434"/>
          </a:xfrm>
          <a:prstGeom prst="rect">
            <a:avLst/>
          </a:prstGeom>
        </p:spPr>
      </p:pic>
      <p:sp>
        <p:nvSpPr>
          <p:cNvPr id="30" name="Title 1">
            <a:extLst>
              <a:ext uri="{FF2B5EF4-FFF2-40B4-BE49-F238E27FC236}">
                <a16:creationId xmlns:a16="http://schemas.microsoft.com/office/drawing/2014/main" id="{32D1485E-9E91-744B-969C-CDC5CBDEA6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709" y="5848934"/>
            <a:ext cx="1905525" cy="587821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544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3AFD1773-13E2-2D40-83A4-B7BA6739DD33}"/>
              </a:ext>
            </a:extLst>
          </p:cNvPr>
          <p:cNvSpPr txBox="1">
            <a:spLocks/>
          </p:cNvSpPr>
          <p:nvPr userDrawn="1"/>
        </p:nvSpPr>
        <p:spPr>
          <a:xfrm>
            <a:off x="2685391" y="5848934"/>
            <a:ext cx="1905525" cy="587821"/>
          </a:xfrm>
          <a:prstGeom prst="rect">
            <a:avLst/>
          </a:prstGeom>
        </p:spPr>
        <p:txBody>
          <a:bodyPr vert="horz" lIns="100834" tIns="50417" rIns="100834" bIns="50417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r>
              <a:rPr lang="en-US" sz="1544" dirty="0">
                <a:solidFill>
                  <a:srgbClr val="004987"/>
                </a:solidFill>
              </a:rPr>
              <a:t>Click to edit Master title style</a:t>
            </a:r>
            <a:endParaRPr lang="ru-RU" sz="1544" dirty="0">
              <a:solidFill>
                <a:srgbClr val="004987"/>
              </a:solidFill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64D48B13-5711-554C-B7AA-4D7447DB8324}"/>
              </a:ext>
            </a:extLst>
          </p:cNvPr>
          <p:cNvSpPr txBox="1">
            <a:spLocks/>
          </p:cNvSpPr>
          <p:nvPr userDrawn="1"/>
        </p:nvSpPr>
        <p:spPr>
          <a:xfrm>
            <a:off x="4750077" y="5848934"/>
            <a:ext cx="1905525" cy="587821"/>
          </a:xfrm>
          <a:prstGeom prst="rect">
            <a:avLst/>
          </a:prstGeom>
        </p:spPr>
        <p:txBody>
          <a:bodyPr vert="horz" lIns="100834" tIns="50417" rIns="100834" bIns="50417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r>
              <a:rPr lang="en-US" sz="1544" dirty="0">
                <a:solidFill>
                  <a:srgbClr val="004987"/>
                </a:solidFill>
              </a:rPr>
              <a:t>Click to edit Master title style</a:t>
            </a:r>
            <a:endParaRPr lang="ru-RU" sz="1544" dirty="0">
              <a:solidFill>
                <a:srgbClr val="004987"/>
              </a:solidFill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6D75CD11-72CF-DE4C-AD3D-6F9B4C11D9B4}"/>
              </a:ext>
            </a:extLst>
          </p:cNvPr>
          <p:cNvSpPr txBox="1">
            <a:spLocks/>
          </p:cNvSpPr>
          <p:nvPr userDrawn="1"/>
        </p:nvSpPr>
        <p:spPr>
          <a:xfrm>
            <a:off x="6805167" y="5848934"/>
            <a:ext cx="1905525" cy="587821"/>
          </a:xfrm>
          <a:prstGeom prst="rect">
            <a:avLst/>
          </a:prstGeom>
        </p:spPr>
        <p:txBody>
          <a:bodyPr vert="horz" lIns="100834" tIns="50417" rIns="100834" bIns="50417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r>
              <a:rPr lang="en-US" sz="1544" dirty="0">
                <a:solidFill>
                  <a:srgbClr val="004987"/>
                </a:solidFill>
              </a:rPr>
              <a:t>Click to edit Master title style</a:t>
            </a:r>
            <a:endParaRPr lang="ru-RU" sz="1544" dirty="0">
              <a:solidFill>
                <a:srgbClr val="004987"/>
              </a:solidFill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ED1A45A6-8E7E-A941-9FE8-C543342C2894}"/>
              </a:ext>
            </a:extLst>
          </p:cNvPr>
          <p:cNvSpPr txBox="1">
            <a:spLocks/>
          </p:cNvSpPr>
          <p:nvPr userDrawn="1"/>
        </p:nvSpPr>
        <p:spPr>
          <a:xfrm>
            <a:off x="8866743" y="5848934"/>
            <a:ext cx="1905525" cy="587821"/>
          </a:xfrm>
          <a:prstGeom prst="rect">
            <a:avLst/>
          </a:prstGeom>
        </p:spPr>
        <p:txBody>
          <a:bodyPr vert="horz" lIns="100834" tIns="50417" rIns="100834" bIns="50417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r>
              <a:rPr lang="en-US" sz="1544" dirty="0">
                <a:solidFill>
                  <a:srgbClr val="004987"/>
                </a:solidFill>
              </a:rPr>
              <a:t>Click to edit Master title style</a:t>
            </a:r>
            <a:endParaRPr lang="ru-RU" sz="1544" dirty="0">
              <a:solidFill>
                <a:srgbClr val="004987"/>
              </a:solidFill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3956DD83-6C3A-8A40-AC75-B4C890DCCF51}"/>
              </a:ext>
            </a:extLst>
          </p:cNvPr>
          <p:cNvSpPr txBox="1">
            <a:spLocks/>
          </p:cNvSpPr>
          <p:nvPr userDrawn="1"/>
        </p:nvSpPr>
        <p:spPr>
          <a:xfrm>
            <a:off x="10931558" y="5848934"/>
            <a:ext cx="1905525" cy="587821"/>
          </a:xfrm>
          <a:prstGeom prst="rect">
            <a:avLst/>
          </a:prstGeom>
        </p:spPr>
        <p:txBody>
          <a:bodyPr vert="horz" lIns="100834" tIns="50417" rIns="100834" bIns="50417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r>
              <a:rPr lang="en-US" sz="1544" dirty="0">
                <a:solidFill>
                  <a:srgbClr val="004987"/>
                </a:solidFill>
              </a:rPr>
              <a:t>Click to edit Master title style</a:t>
            </a:r>
            <a:endParaRPr lang="ru-RU" sz="1544" dirty="0">
              <a:solidFill>
                <a:srgbClr val="004987"/>
              </a:solidFill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B05CF786-DC36-4851-AA4A-26ABBF74FC0E}"/>
              </a:ext>
            </a:extLst>
          </p:cNvPr>
          <p:cNvSpPr txBox="1">
            <a:spLocks/>
          </p:cNvSpPr>
          <p:nvPr userDrawn="1"/>
        </p:nvSpPr>
        <p:spPr>
          <a:xfrm>
            <a:off x="772345" y="1536676"/>
            <a:ext cx="8967942" cy="1302491"/>
          </a:xfrm>
          <a:prstGeom prst="rect">
            <a:avLst/>
          </a:prstGeom>
          <a:noFill/>
        </p:spPr>
        <p:txBody>
          <a:bodyPr vert="horz" lIns="0" tIns="50417" rIns="100834" bIns="50417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200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r>
              <a:rPr lang="en-US" sz="4631" dirty="0">
                <a:solidFill>
                  <a:srgbClr val="004987"/>
                </a:solidFill>
              </a:rPr>
              <a:t>Click to edit Master title style</a:t>
            </a:r>
            <a:endParaRPr lang="ru-RU" sz="4631" dirty="0">
              <a:solidFill>
                <a:srgbClr val="004987"/>
              </a:solidFill>
            </a:endParaRP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C13EB4D1-2F93-4378-885D-A943AF9FBB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2954" y="2944686"/>
            <a:ext cx="7924485" cy="6225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accent2"/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161381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roduct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0C72362A-C71C-4C3D-96C2-72AEE1317552}"/>
              </a:ext>
            </a:extLst>
          </p:cNvPr>
          <p:cNvSpPr/>
          <p:nvPr userDrawn="1"/>
        </p:nvSpPr>
        <p:spPr>
          <a:xfrm>
            <a:off x="6807091" y="1333961"/>
            <a:ext cx="1905525" cy="158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DEC34D4-7CBC-4B17-B00A-8AED456C3EC8}"/>
              </a:ext>
            </a:extLst>
          </p:cNvPr>
          <p:cNvSpPr/>
          <p:nvPr userDrawn="1"/>
        </p:nvSpPr>
        <p:spPr>
          <a:xfrm>
            <a:off x="8875548" y="1333961"/>
            <a:ext cx="1905525" cy="158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37F0AD5-96BD-4CB8-9530-F6673FBBA1BC}"/>
              </a:ext>
            </a:extLst>
          </p:cNvPr>
          <p:cNvSpPr/>
          <p:nvPr userDrawn="1"/>
        </p:nvSpPr>
        <p:spPr>
          <a:xfrm>
            <a:off x="10941245" y="1333961"/>
            <a:ext cx="1905525" cy="158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434C3BE-0F0F-46A1-9DAA-2E5EF0DF837C}"/>
              </a:ext>
            </a:extLst>
          </p:cNvPr>
          <p:cNvSpPr/>
          <p:nvPr userDrawn="1"/>
        </p:nvSpPr>
        <p:spPr>
          <a:xfrm>
            <a:off x="6805167" y="4171494"/>
            <a:ext cx="1905525" cy="158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86C7C77-93A2-4214-83F8-6378A030F48F}"/>
              </a:ext>
            </a:extLst>
          </p:cNvPr>
          <p:cNvSpPr/>
          <p:nvPr userDrawn="1"/>
        </p:nvSpPr>
        <p:spPr>
          <a:xfrm>
            <a:off x="8873432" y="4171494"/>
            <a:ext cx="1905525" cy="158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5FF72CE-16FA-4A30-916F-D97829EA28F2}"/>
              </a:ext>
            </a:extLst>
          </p:cNvPr>
          <p:cNvSpPr/>
          <p:nvPr userDrawn="1"/>
        </p:nvSpPr>
        <p:spPr>
          <a:xfrm>
            <a:off x="10929833" y="4171494"/>
            <a:ext cx="1905525" cy="158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pic>
        <p:nvPicPr>
          <p:cNvPr id="39" name="Graphic 38">
            <a:extLst>
              <a:ext uri="{FF2B5EF4-FFF2-40B4-BE49-F238E27FC236}">
                <a16:creationId xmlns:a16="http://schemas.microsoft.com/office/drawing/2014/main" id="{1190A695-95F3-4DBE-849C-FB711754F4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979743" y="4171494"/>
            <a:ext cx="1556373" cy="1556434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0854B2BA-8AA8-4B70-AEE2-8A1C58AF0BD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9046969" y="4171494"/>
            <a:ext cx="1556373" cy="1556434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AE90C234-859D-4182-B973-2201873D9A2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1104409" y="4171494"/>
            <a:ext cx="1556373" cy="1556434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AFB88275-8ED1-42D4-979B-C6E46AEF499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9050124" y="1333961"/>
            <a:ext cx="1556373" cy="1556434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365ABAB5-4E05-4C80-B8A7-BFC89018B27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6981667" y="1333961"/>
            <a:ext cx="1556373" cy="1556434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AB9084B6-723D-497D-955A-6EAC4EF1CC3E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11115821" y="1333961"/>
            <a:ext cx="1556373" cy="1556434"/>
          </a:xfrm>
          <a:prstGeom prst="rect">
            <a:avLst/>
          </a:prstGeom>
        </p:spPr>
      </p:pic>
      <p:sp>
        <p:nvSpPr>
          <p:cNvPr id="45" name="Title 1">
            <a:extLst>
              <a:ext uri="{FF2B5EF4-FFF2-40B4-BE49-F238E27FC236}">
                <a16:creationId xmlns:a16="http://schemas.microsoft.com/office/drawing/2014/main" id="{D6125782-AA5B-458D-A7D2-71BF8B23EB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986" y="3011401"/>
            <a:ext cx="1905525" cy="587821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544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6" name="Title 1">
            <a:extLst>
              <a:ext uri="{FF2B5EF4-FFF2-40B4-BE49-F238E27FC236}">
                <a16:creationId xmlns:a16="http://schemas.microsoft.com/office/drawing/2014/main" id="{D0D9743B-8BC5-407F-B139-9C8154670BB3}"/>
              </a:ext>
            </a:extLst>
          </p:cNvPr>
          <p:cNvSpPr txBox="1">
            <a:spLocks/>
          </p:cNvSpPr>
          <p:nvPr userDrawn="1"/>
        </p:nvSpPr>
        <p:spPr>
          <a:xfrm>
            <a:off x="8888668" y="3011401"/>
            <a:ext cx="1905525" cy="587821"/>
          </a:xfrm>
          <a:prstGeom prst="rect">
            <a:avLst/>
          </a:prstGeom>
        </p:spPr>
        <p:txBody>
          <a:bodyPr vert="horz" lIns="100834" tIns="50417" rIns="100834" bIns="50417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r>
              <a:rPr lang="en-US" sz="1544" dirty="0">
                <a:solidFill>
                  <a:srgbClr val="004987"/>
                </a:solidFill>
              </a:rPr>
              <a:t>Click to edit Master title style</a:t>
            </a:r>
            <a:endParaRPr lang="ru-RU" sz="1544" dirty="0">
              <a:solidFill>
                <a:srgbClr val="004987"/>
              </a:solidFill>
            </a:endParaRPr>
          </a:p>
        </p:txBody>
      </p:sp>
      <p:sp>
        <p:nvSpPr>
          <p:cNvPr id="47" name="Title 1">
            <a:extLst>
              <a:ext uri="{FF2B5EF4-FFF2-40B4-BE49-F238E27FC236}">
                <a16:creationId xmlns:a16="http://schemas.microsoft.com/office/drawing/2014/main" id="{E987742A-1941-4091-874D-9028BE0D0B56}"/>
              </a:ext>
            </a:extLst>
          </p:cNvPr>
          <p:cNvSpPr txBox="1">
            <a:spLocks/>
          </p:cNvSpPr>
          <p:nvPr userDrawn="1"/>
        </p:nvSpPr>
        <p:spPr>
          <a:xfrm>
            <a:off x="10953354" y="3011401"/>
            <a:ext cx="1905525" cy="587821"/>
          </a:xfrm>
          <a:prstGeom prst="rect">
            <a:avLst/>
          </a:prstGeom>
        </p:spPr>
        <p:txBody>
          <a:bodyPr vert="horz" lIns="100834" tIns="50417" rIns="100834" bIns="50417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r>
              <a:rPr lang="en-US" sz="1544" dirty="0">
                <a:solidFill>
                  <a:srgbClr val="004987"/>
                </a:solidFill>
              </a:rPr>
              <a:t>Click to edit Master title style</a:t>
            </a:r>
            <a:endParaRPr lang="ru-RU" sz="1544" dirty="0">
              <a:solidFill>
                <a:srgbClr val="004987"/>
              </a:solidFill>
            </a:endParaRP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3E99A200-6450-4CF7-8B73-861D51C070EF}"/>
              </a:ext>
            </a:extLst>
          </p:cNvPr>
          <p:cNvSpPr txBox="1">
            <a:spLocks/>
          </p:cNvSpPr>
          <p:nvPr userDrawn="1"/>
        </p:nvSpPr>
        <p:spPr>
          <a:xfrm>
            <a:off x="6805167" y="5848934"/>
            <a:ext cx="1905525" cy="587821"/>
          </a:xfrm>
          <a:prstGeom prst="rect">
            <a:avLst/>
          </a:prstGeom>
        </p:spPr>
        <p:txBody>
          <a:bodyPr vert="horz" lIns="100834" tIns="50417" rIns="100834" bIns="50417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r>
              <a:rPr lang="en-US" sz="1544" dirty="0">
                <a:solidFill>
                  <a:srgbClr val="004987"/>
                </a:solidFill>
              </a:rPr>
              <a:t>Click to edit Master title style</a:t>
            </a:r>
            <a:endParaRPr lang="ru-RU" sz="1544" dirty="0">
              <a:solidFill>
                <a:srgbClr val="004987"/>
              </a:solidFill>
            </a:endParaRPr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5877009A-D7A6-4C36-BFAA-8404BD2DDEB6}"/>
              </a:ext>
            </a:extLst>
          </p:cNvPr>
          <p:cNvSpPr txBox="1">
            <a:spLocks/>
          </p:cNvSpPr>
          <p:nvPr userDrawn="1"/>
        </p:nvSpPr>
        <p:spPr>
          <a:xfrm>
            <a:off x="8866743" y="5848934"/>
            <a:ext cx="1905525" cy="587821"/>
          </a:xfrm>
          <a:prstGeom prst="rect">
            <a:avLst/>
          </a:prstGeom>
        </p:spPr>
        <p:txBody>
          <a:bodyPr vert="horz" lIns="100834" tIns="50417" rIns="100834" bIns="50417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r>
              <a:rPr lang="en-US" sz="1544" dirty="0">
                <a:solidFill>
                  <a:srgbClr val="004987"/>
                </a:solidFill>
              </a:rPr>
              <a:t>Click to edit Master title style</a:t>
            </a:r>
            <a:endParaRPr lang="ru-RU" sz="1544" dirty="0">
              <a:solidFill>
                <a:srgbClr val="004987"/>
              </a:solidFill>
            </a:endParaRPr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2258F92F-6B27-496B-B1B3-D7636DA2EF6D}"/>
              </a:ext>
            </a:extLst>
          </p:cNvPr>
          <p:cNvSpPr txBox="1">
            <a:spLocks/>
          </p:cNvSpPr>
          <p:nvPr userDrawn="1"/>
        </p:nvSpPr>
        <p:spPr>
          <a:xfrm>
            <a:off x="10931558" y="5848934"/>
            <a:ext cx="1905525" cy="587821"/>
          </a:xfrm>
          <a:prstGeom prst="rect">
            <a:avLst/>
          </a:prstGeom>
        </p:spPr>
        <p:txBody>
          <a:bodyPr vert="horz" lIns="100834" tIns="50417" rIns="100834" bIns="50417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r>
              <a:rPr lang="en-US" sz="1544" dirty="0">
                <a:solidFill>
                  <a:srgbClr val="004987"/>
                </a:solidFill>
              </a:rPr>
              <a:t>Click to edit Master title style</a:t>
            </a:r>
            <a:endParaRPr lang="ru-RU" sz="1544" dirty="0">
              <a:solidFill>
                <a:srgbClr val="004987"/>
              </a:solidFill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A8054E37-E98E-48FA-8F05-0CA4020A89F0}"/>
              </a:ext>
            </a:extLst>
          </p:cNvPr>
          <p:cNvSpPr txBox="1">
            <a:spLocks/>
          </p:cNvSpPr>
          <p:nvPr userDrawn="1"/>
        </p:nvSpPr>
        <p:spPr>
          <a:xfrm>
            <a:off x="772345" y="1536676"/>
            <a:ext cx="5556599" cy="1302491"/>
          </a:xfrm>
          <a:prstGeom prst="rect">
            <a:avLst/>
          </a:prstGeom>
          <a:noFill/>
        </p:spPr>
        <p:txBody>
          <a:bodyPr vert="horz" lIns="0" tIns="50417" rIns="100834" bIns="50417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200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r>
              <a:rPr lang="en-US" sz="4631">
                <a:solidFill>
                  <a:srgbClr val="004987"/>
                </a:solidFill>
              </a:rPr>
              <a:t>Click to edit Master title style</a:t>
            </a:r>
            <a:endParaRPr lang="ru-RU" sz="4631" dirty="0">
              <a:solidFill>
                <a:srgbClr val="004987"/>
              </a:solidFill>
            </a:endParaRP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CD99E8EC-4348-493A-BDC7-C55FB3D334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2954" y="2944686"/>
            <a:ext cx="5556600" cy="6225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accent2"/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0FB03CB7-442C-4D99-AA81-28BB516433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72345" y="3672800"/>
            <a:ext cx="5556600" cy="27778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147664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2C0069F-71D1-8E43-9CB8-714097030D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9409" y="2249607"/>
            <a:ext cx="5958060" cy="47482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>
                <a:srgbClr val="FF9300"/>
              </a:buClr>
              <a:buFontTx/>
              <a:buNone/>
              <a:defRPr sz="1200" b="1" i="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1pPr>
            <a:lvl2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2pPr>
            <a:lvl3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3pPr>
            <a:lvl4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4pPr>
            <a:lvl5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52C723B-6E35-5849-9E03-E5AB81BF242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027069" y="2249607"/>
            <a:ext cx="5958060" cy="47482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>
                <a:srgbClr val="FF9300"/>
              </a:buClr>
              <a:buFontTx/>
              <a:buNone/>
              <a:defRPr sz="1200" b="1" i="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1pPr>
            <a:lvl2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2pPr>
            <a:lvl3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3pPr>
            <a:lvl4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4pPr>
            <a:lvl5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DB818B7-3FA6-CC4E-BE73-05121A5615A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422" y="1092412"/>
            <a:ext cx="12587462" cy="1008380"/>
          </a:xfrm>
          <a:prstGeom prst="rect">
            <a:avLst/>
          </a:prstGeom>
          <a:noFill/>
        </p:spPr>
        <p:txBody>
          <a:bodyPr anchor="t" anchorCtr="0">
            <a:noAutofit/>
          </a:bodyPr>
          <a:lstStyle>
            <a:lvl1pPr algn="l">
              <a:defRPr sz="225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791655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2C0069F-71D1-8E43-9CB8-714097030D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9409" y="2249607"/>
            <a:ext cx="5958060" cy="47482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>
                <a:srgbClr val="FF9300"/>
              </a:buClr>
              <a:buFontTx/>
              <a:buNone/>
              <a:defRPr sz="1200" b="1" i="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1pPr>
            <a:lvl2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2pPr>
            <a:lvl3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3pPr>
            <a:lvl4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4pPr>
            <a:lvl5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52C723B-6E35-5849-9E03-E5AB81BF242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027069" y="2249607"/>
            <a:ext cx="5958060" cy="47482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>
                <a:srgbClr val="FF9300"/>
              </a:buClr>
              <a:buFontTx/>
              <a:buNone/>
              <a:defRPr sz="1200" b="1" i="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1pPr>
            <a:lvl2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2pPr>
            <a:lvl3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3pPr>
            <a:lvl4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4pPr>
            <a:lvl5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DB818B7-3FA6-CC4E-BE73-05121A5615A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422" y="1092412"/>
            <a:ext cx="12587462" cy="1008380"/>
          </a:xfrm>
          <a:prstGeom prst="rect">
            <a:avLst/>
          </a:prstGeom>
          <a:noFill/>
        </p:spPr>
        <p:txBody>
          <a:bodyPr anchor="t" anchorCtr="0">
            <a:noAutofit/>
          </a:bodyPr>
          <a:lstStyle>
            <a:lvl1pPr algn="l">
              <a:defRPr sz="225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598207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2C0069F-71D1-8E43-9CB8-714097030D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9409" y="2249607"/>
            <a:ext cx="5958060" cy="47482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>
                <a:srgbClr val="FF9300"/>
              </a:buClr>
              <a:buFontTx/>
              <a:buNone/>
              <a:defRPr sz="1200" b="1" i="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1pPr>
            <a:lvl2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2pPr>
            <a:lvl3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3pPr>
            <a:lvl4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4pPr>
            <a:lvl5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52C723B-6E35-5849-9E03-E5AB81BF242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027069" y="2249607"/>
            <a:ext cx="5958060" cy="47482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>
                <a:srgbClr val="FF9300"/>
              </a:buClr>
              <a:buFontTx/>
              <a:buNone/>
              <a:defRPr sz="1200" b="1" i="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1pPr>
            <a:lvl2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2pPr>
            <a:lvl3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3pPr>
            <a:lvl4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4pPr>
            <a:lvl5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DB818B7-3FA6-CC4E-BE73-05121A5615A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422" y="1092412"/>
            <a:ext cx="12587462" cy="1008380"/>
          </a:xfrm>
          <a:prstGeom prst="rect">
            <a:avLst/>
          </a:prstGeom>
          <a:noFill/>
        </p:spPr>
        <p:txBody>
          <a:bodyPr anchor="t" anchorCtr="0">
            <a:noAutofit/>
          </a:bodyPr>
          <a:lstStyle>
            <a:lvl1pPr algn="l">
              <a:defRPr sz="225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722436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2C0069F-71D1-8E43-9CB8-714097030D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9409" y="2249607"/>
            <a:ext cx="5958060" cy="47482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>
                <a:srgbClr val="FF9300"/>
              </a:buClr>
              <a:buFontTx/>
              <a:buNone/>
              <a:defRPr sz="1200" b="1" i="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1pPr>
            <a:lvl2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2pPr>
            <a:lvl3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3pPr>
            <a:lvl4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4pPr>
            <a:lvl5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52C723B-6E35-5849-9E03-E5AB81BF242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027069" y="2249607"/>
            <a:ext cx="5958060" cy="47482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>
                <a:srgbClr val="FF9300"/>
              </a:buClr>
              <a:buFontTx/>
              <a:buNone/>
              <a:defRPr sz="1200" b="1" i="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1pPr>
            <a:lvl2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2pPr>
            <a:lvl3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3pPr>
            <a:lvl4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4pPr>
            <a:lvl5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DB818B7-3FA6-CC4E-BE73-05121A5615A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422" y="1092412"/>
            <a:ext cx="12587462" cy="1008380"/>
          </a:xfrm>
          <a:prstGeom prst="rect">
            <a:avLst/>
          </a:prstGeom>
          <a:noFill/>
        </p:spPr>
        <p:txBody>
          <a:bodyPr anchor="t" anchorCtr="0">
            <a:noAutofit/>
          </a:bodyPr>
          <a:lstStyle>
            <a:lvl1pPr algn="l">
              <a:defRPr sz="225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77370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Content + Illustr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building, light, large, dark&#10;&#10;Description automatically generated">
            <a:extLst>
              <a:ext uri="{FF2B5EF4-FFF2-40B4-BE49-F238E27FC236}">
                <a16:creationId xmlns:a16="http://schemas.microsoft.com/office/drawing/2014/main" id="{EB714CE6-36BA-104F-B830-65783A93C8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6" t="5736" r="40256" b="762"/>
          <a:stretch/>
        </p:blipFill>
        <p:spPr>
          <a:xfrm>
            <a:off x="6714262" y="1092413"/>
            <a:ext cx="6730277" cy="5905421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1F97A3E9-CDC6-4142-AB89-68DF6D3F0A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409" y="1092412"/>
            <a:ext cx="5958060" cy="1232464"/>
          </a:xfrm>
          <a:prstGeom prst="rect">
            <a:avLst/>
          </a:prstGeom>
          <a:noFill/>
        </p:spPr>
        <p:txBody>
          <a:bodyPr anchor="t" anchorCtr="0">
            <a:noAutofit/>
          </a:bodyPr>
          <a:lstStyle>
            <a:lvl1pPr algn="l">
              <a:defRPr sz="225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17A332D-97BD-5142-BE87-5DA024B6DE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9409" y="2436930"/>
            <a:ext cx="5958060" cy="45609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>
                <a:srgbClr val="FF9300"/>
              </a:buClr>
              <a:buFontTx/>
              <a:buNone/>
              <a:defRPr sz="1200" b="1" i="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1pPr>
            <a:lvl2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2pPr>
            <a:lvl3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3pPr>
            <a:lvl4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4pPr>
            <a:lvl5pPr>
              <a:buClr>
                <a:srgbClr val="FF9300"/>
              </a:buClr>
              <a:defRPr sz="1200" baseline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019359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47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4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54C340A-5A64-9A4B-BC7B-C2435778AD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4719" y="185179"/>
            <a:ext cx="6743695" cy="57694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defRPr sz="2400" baseline="0">
                <a:solidFill>
                  <a:schemeClr val="accent2"/>
                </a:solidFill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pic>
        <p:nvPicPr>
          <p:cNvPr id="6" name="Picture 31">
            <a:extLst>
              <a:ext uri="{FF2B5EF4-FFF2-40B4-BE49-F238E27FC236}">
                <a16:creationId xmlns:a16="http://schemas.microsoft.com/office/drawing/2014/main" id="{BFE078A2-9962-3F46-9FD3-12AE3CAA678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2000" y="265886"/>
            <a:ext cx="2286000" cy="591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66534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Текст +фон +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05DA709-DADB-4A9F-B61E-634AF5114482}"/>
              </a:ext>
            </a:extLst>
          </p:cNvPr>
          <p:cNvSpPr/>
          <p:nvPr userDrawn="1"/>
        </p:nvSpPr>
        <p:spPr>
          <a:xfrm>
            <a:off x="6722269" y="0"/>
            <a:ext cx="6722269" cy="7562850"/>
          </a:xfrm>
          <a:prstGeom prst="rect">
            <a:avLst/>
          </a:prstGeom>
          <a:solidFill>
            <a:srgbClr val="00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10" rIns="91419" bIns="45710" rtlCol="0" anchor="ctr"/>
          <a:lstStyle/>
          <a:p>
            <a:pPr algn="ctr"/>
            <a:endParaRPr lang="ru-RU" sz="2000" dirty="0">
              <a:solidFill>
                <a:srgbClr val="FFFFFF"/>
              </a:solidFill>
            </a:endParaRPr>
          </a:p>
        </p:txBody>
      </p:sp>
      <p:pic>
        <p:nvPicPr>
          <p:cNvPr id="14" name="Picture 13" descr="A picture containing computer, laptop, sitting, clock&#10;&#10;Description automatically generated">
            <a:extLst>
              <a:ext uri="{FF2B5EF4-FFF2-40B4-BE49-F238E27FC236}">
                <a16:creationId xmlns:a16="http://schemas.microsoft.com/office/drawing/2014/main" id="{0B232E78-A098-1840-A10B-2117A398EF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7101" y="6854825"/>
            <a:ext cx="2420909" cy="532602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4A394C02-D0AD-7C44-8D4C-77633B1F08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747" y="237348"/>
            <a:ext cx="5953572" cy="1289845"/>
          </a:xfrm>
          <a:prstGeom prst="rect">
            <a:avLst/>
          </a:prstGeom>
        </p:spPr>
        <p:txBody>
          <a:bodyPr lIns="91419" tIns="45710" rIns="91419" bIns="45710" anchor="t" anchorCtr="0">
            <a:normAutofit/>
          </a:bodyPr>
          <a:lstStyle>
            <a:lvl1pPr>
              <a:defRPr sz="3800" b="1" i="0" baseline="0">
                <a:solidFill>
                  <a:srgbClr val="0000FF"/>
                </a:solidFill>
                <a:latin typeface="Tahoma" panose="020B060403050404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x-none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CFC761E2-5E7E-4C42-933B-8E4C217DD5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1747" y="1527191"/>
            <a:ext cx="5953572" cy="4986944"/>
          </a:xfrm>
          <a:prstGeom prst="rect">
            <a:avLst/>
          </a:prstGeom>
        </p:spPr>
        <p:txBody>
          <a:bodyPr lIns="91419" tIns="45710" rIns="91419" bIns="45710" anchor="ctr" anchorCtr="0"/>
          <a:lstStyle>
            <a:lvl1pPr marL="0" indent="0">
              <a:buFontTx/>
              <a:buNone/>
              <a:defRPr sz="2600" b="1" i="0" baseline="0">
                <a:solidFill>
                  <a:schemeClr val="accent6">
                    <a:lumMod val="10000"/>
                  </a:schemeClr>
                </a:solidFill>
                <a:latin typeface="Tahoma" panose="020B0604030504040204" pitchFamily="34" charset="0"/>
              </a:defRPr>
            </a:lvl1pPr>
            <a:lvl2pPr marL="0" indent="0">
              <a:lnSpc>
                <a:spcPct val="100000"/>
              </a:lnSpc>
              <a:spcBef>
                <a:spcPts val="662"/>
              </a:spcBef>
              <a:spcAft>
                <a:spcPts val="110"/>
              </a:spcAft>
              <a:buClr>
                <a:schemeClr val="accent1"/>
              </a:buClr>
              <a:buFont typeface="Open Sans" panose="020B0606030504020204" pitchFamily="34" charset="0"/>
              <a:buNone/>
              <a:defRPr sz="3200">
                <a:solidFill>
                  <a:schemeClr val="accent1"/>
                </a:solidFill>
              </a:defRPr>
            </a:lvl2pPr>
            <a:lvl3pPr marL="254002" indent="-252019">
              <a:lnSpc>
                <a:spcPct val="100000"/>
              </a:lnSpc>
              <a:spcBef>
                <a:spcPts val="662"/>
              </a:spcBef>
              <a:spcAft>
                <a:spcPts val="110"/>
              </a:spcAft>
              <a:buClr>
                <a:srgbClr val="0000FF"/>
              </a:buClr>
              <a:buFont typeface="Open Sans" panose="020B0606030504020204" pitchFamily="34" charset="0"/>
              <a:buChar char="•"/>
              <a:defRPr sz="1700" baseline="0">
                <a:solidFill>
                  <a:schemeClr val="accent3"/>
                </a:solidFill>
                <a:latin typeface="Tahoma" panose="020B0604030504040204" pitchFamily="34" charset="0"/>
              </a:defRPr>
            </a:lvl3pPr>
            <a:lvl4pPr marL="1764131" indent="-252019">
              <a:buClr>
                <a:schemeClr val="accent1"/>
              </a:buClr>
              <a:buFont typeface="Open Sans" panose="020B0606030504020204" pitchFamily="34" charset="0"/>
              <a:buChar char="•"/>
              <a:defRPr>
                <a:solidFill>
                  <a:schemeClr val="accent3"/>
                </a:solidFill>
              </a:defRPr>
            </a:lvl4pPr>
            <a:lvl5pPr marL="2268167" indent="-252019">
              <a:buClr>
                <a:schemeClr val="accent1"/>
              </a:buClr>
              <a:buFont typeface="Open Sans" panose="020B0606030504020204" pitchFamily="34" charset="0"/>
              <a:buChar char="•"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540158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+ Content + BcgrndBlu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05DA709-DADB-4A9F-B61E-634AF5114482}"/>
              </a:ext>
            </a:extLst>
          </p:cNvPr>
          <p:cNvSpPr/>
          <p:nvPr userDrawn="1"/>
        </p:nvSpPr>
        <p:spPr>
          <a:xfrm>
            <a:off x="6722269" y="0"/>
            <a:ext cx="6722269" cy="7562850"/>
          </a:xfrm>
          <a:prstGeom prst="rect">
            <a:avLst/>
          </a:prstGeom>
          <a:solidFill>
            <a:srgbClr val="1E37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/>
            <a:endParaRPr lang="ru-RU" sz="1350" dirty="0">
              <a:solidFill>
                <a:srgbClr val="FFFFFF"/>
              </a:solidFill>
            </a:endParaRPr>
          </a:p>
        </p:txBody>
      </p:sp>
      <p:pic>
        <p:nvPicPr>
          <p:cNvPr id="14" name="Picture 13" descr="A picture containing computer, laptop, sitting, clock&#10;&#10;Description automatically generated">
            <a:extLst>
              <a:ext uri="{FF2B5EF4-FFF2-40B4-BE49-F238E27FC236}">
                <a16:creationId xmlns:a16="http://schemas.microsoft.com/office/drawing/2014/main" id="{0B232E78-A098-1840-A10B-2117A398EF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7099" y="6854826"/>
            <a:ext cx="2420911" cy="53260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DD428AE4-075A-D94F-A060-66D80DDDD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747" y="237346"/>
            <a:ext cx="5953572" cy="128984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3860" b="1" i="0" baseline="0">
                <a:solidFill>
                  <a:srgbClr val="1E3777"/>
                </a:solidFill>
                <a:latin typeface="Tahoma" panose="020B060403050404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x-none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4602673-401B-5C41-869D-1B93E5FA3C4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1747" y="1527191"/>
            <a:ext cx="5953572" cy="4986945"/>
          </a:xfrm>
          <a:prstGeom prst="rect">
            <a:avLst/>
          </a:prstGeom>
        </p:spPr>
        <p:txBody>
          <a:bodyPr anchor="ctr" anchorCtr="0"/>
          <a:lstStyle>
            <a:lvl1pPr marL="0" indent="0">
              <a:buClr>
                <a:srgbClr val="1E3777"/>
              </a:buClr>
              <a:buFontTx/>
              <a:buNone/>
              <a:defRPr sz="2647" b="1" i="0" baseline="0">
                <a:solidFill>
                  <a:schemeClr val="accent6">
                    <a:lumMod val="10000"/>
                  </a:schemeClr>
                </a:solidFill>
                <a:latin typeface="Tahoma" panose="020B0604030504040204" pitchFamily="34" charset="0"/>
              </a:defRPr>
            </a:lvl1pPr>
            <a:lvl2pPr marL="0" indent="0">
              <a:lnSpc>
                <a:spcPct val="100000"/>
              </a:lnSpc>
              <a:spcBef>
                <a:spcPts val="662"/>
              </a:spcBef>
              <a:spcAft>
                <a:spcPts val="110"/>
              </a:spcAft>
              <a:buClr>
                <a:schemeClr val="accent1"/>
              </a:buClr>
              <a:buFont typeface="Open Sans" panose="020B0606030504020204" pitchFamily="34" charset="0"/>
              <a:buNone/>
              <a:defRPr sz="3088">
                <a:solidFill>
                  <a:schemeClr val="accent1"/>
                </a:solidFill>
              </a:defRPr>
            </a:lvl2pPr>
            <a:lvl3pPr marL="254068" indent="-252083">
              <a:lnSpc>
                <a:spcPct val="100000"/>
              </a:lnSpc>
              <a:spcBef>
                <a:spcPts val="662"/>
              </a:spcBef>
              <a:spcAft>
                <a:spcPts val="110"/>
              </a:spcAft>
              <a:buClr>
                <a:srgbClr val="1E3777"/>
              </a:buClr>
              <a:buFont typeface="Open Sans" panose="020B0606030504020204" pitchFamily="34" charset="0"/>
              <a:buChar char="•"/>
              <a:defRPr sz="1764" baseline="0">
                <a:solidFill>
                  <a:schemeClr val="accent3"/>
                </a:solidFill>
                <a:latin typeface="Tahoma" panose="020B0604030504040204" pitchFamily="34" charset="0"/>
              </a:defRPr>
            </a:lvl3pPr>
            <a:lvl4pPr marL="1764581" indent="-252083">
              <a:buClr>
                <a:schemeClr val="accent1"/>
              </a:buClr>
              <a:buFont typeface="Open Sans" panose="020B0606030504020204" pitchFamily="34" charset="0"/>
              <a:buChar char="•"/>
              <a:defRPr>
                <a:solidFill>
                  <a:schemeClr val="accent3"/>
                </a:solidFill>
              </a:defRPr>
            </a:lvl4pPr>
            <a:lvl5pPr marL="2268746" indent="-252083">
              <a:buClr>
                <a:schemeClr val="accent1"/>
              </a:buClr>
              <a:buFont typeface="Open Sans" panose="020B0606030504020204" pitchFamily="34" charset="0"/>
              <a:buChar char="•"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652633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+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DB1D532-5A2B-404F-8F0B-9273B977BCBA}"/>
              </a:ext>
            </a:extLst>
          </p:cNvPr>
          <p:cNvSpPr/>
          <p:nvPr userDrawn="1"/>
        </p:nvSpPr>
        <p:spPr>
          <a:xfrm>
            <a:off x="518999" y="1186684"/>
            <a:ext cx="12406541" cy="584781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16" name="object 3">
            <a:extLst>
              <a:ext uri="{FF2B5EF4-FFF2-40B4-BE49-F238E27FC236}">
                <a16:creationId xmlns:a16="http://schemas.microsoft.com/office/drawing/2014/main" id="{6493A614-6C9D-FB40-AC48-8632AF7BA77A}"/>
              </a:ext>
            </a:extLst>
          </p:cNvPr>
          <p:cNvSpPr/>
          <p:nvPr userDrawn="1"/>
        </p:nvSpPr>
        <p:spPr>
          <a:xfrm>
            <a:off x="518999" y="3770533"/>
            <a:ext cx="12385913" cy="94247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11925" r="3" b="23841"/>
            </a:stretch>
          </a:blipFill>
        </p:spPr>
        <p:txBody>
          <a:bodyPr wrap="square" lIns="0" tIns="0" rIns="0" bIns="0" rtlCol="0"/>
          <a:lstStyle/>
          <a:p>
            <a:endParaRPr sz="1985" dirty="0">
              <a:solidFill>
                <a:srgbClr val="004987"/>
              </a:solidFill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654C340A-5A64-9A4B-BC7B-C2435778AD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8531" y="1567375"/>
            <a:ext cx="8657412" cy="2203158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defRPr sz="463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0196E1D2-2B06-124B-B328-57B1FA52A8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04734" y="4528015"/>
            <a:ext cx="7272603" cy="190438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bg1">
                    <a:alpha val="85000"/>
                  </a:schemeClr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1663908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l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525BCF57-F0E4-B447-A0A2-15075F29E6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864680" cy="7562850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6883B903-8754-7749-B5F0-47957463B9CE}"/>
              </a:ext>
            </a:extLst>
          </p:cNvPr>
          <p:cNvGrpSpPr/>
          <p:nvPr userDrawn="1"/>
        </p:nvGrpSpPr>
        <p:grpSpPr>
          <a:xfrm>
            <a:off x="422678" y="6006416"/>
            <a:ext cx="12820805" cy="1556434"/>
            <a:chOff x="383300" y="5571948"/>
            <a:chExt cx="11626376" cy="1411376"/>
          </a:xfrm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FE102B69-9AB2-364B-9281-E5B89C29417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6512300" y="5571948"/>
              <a:ext cx="1411376" cy="1411376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0FDF079C-F173-1940-8221-0D93A25A2F8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8555300" y="5571948"/>
              <a:ext cx="1411376" cy="1411376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6D07F488-D4F6-0C47-81F2-3F713FDEA94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10598300" y="5571948"/>
              <a:ext cx="1411376" cy="1411376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E2BC3405-90D0-F34A-98AA-B44F4BA513D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2426300" y="5571948"/>
              <a:ext cx="1411376" cy="1411376"/>
            </a:xfrm>
            <a:prstGeom prst="rect">
              <a:avLst/>
            </a:prstGeom>
          </p:spPr>
        </p:pic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A1939122-BE95-6043-A027-3EA3F47C408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383300" y="5571948"/>
              <a:ext cx="1411376" cy="1411376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96C08B5C-AEFF-844E-9ACE-B62CB0EE06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4"/>
                </a:ext>
              </a:extLst>
            </a:blip>
            <a:stretch>
              <a:fillRect/>
            </a:stretch>
          </p:blipFill>
          <p:spPr>
            <a:xfrm>
              <a:off x="4469300" y="5571948"/>
              <a:ext cx="1411376" cy="1411376"/>
            </a:xfrm>
            <a:prstGeom prst="rect">
              <a:avLst/>
            </a:prstGeom>
          </p:spPr>
        </p:pic>
      </p:grpSp>
      <p:sp>
        <p:nvSpPr>
          <p:cNvPr id="25" name="Title 1">
            <a:extLst>
              <a:ext uri="{FF2B5EF4-FFF2-40B4-BE49-F238E27FC236}">
                <a16:creationId xmlns:a16="http://schemas.microsoft.com/office/drawing/2014/main" id="{2196463C-60A1-41D1-BF41-3DDAEFE7C6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40304" y="1789009"/>
            <a:ext cx="8523916" cy="2164487"/>
          </a:xfrm>
          <a:noFill/>
        </p:spPr>
        <p:txBody>
          <a:bodyPr anchor="b"/>
          <a:lstStyle>
            <a:lvl1pPr algn="l">
              <a:defRPr sz="661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0A2CDEE7-AC5F-4BEA-B195-3CFFDAA4CE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40305" y="4044383"/>
            <a:ext cx="7515551" cy="823815"/>
          </a:xfrm>
        </p:spPr>
        <p:txBody>
          <a:bodyPr/>
          <a:lstStyle>
            <a:lvl1pPr marL="0" indent="0" algn="l">
              <a:buNone/>
              <a:defRPr sz="2646">
                <a:solidFill>
                  <a:schemeClr val="bg1">
                    <a:alpha val="85000"/>
                  </a:schemeClr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80CA9132-DB25-4C64-8E7A-29EF911CF88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1624183" y="442217"/>
            <a:ext cx="3898916" cy="739479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77B022E1-B4AA-40E1-BB6D-9F977D6CCC15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727" y="541184"/>
            <a:ext cx="1169246" cy="375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9227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Slide Simp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80A61CD-A1CB-4B68-8583-78173E40BA64}"/>
              </a:ext>
            </a:extLst>
          </p:cNvPr>
          <p:cNvSpPr/>
          <p:nvPr userDrawn="1"/>
        </p:nvSpPr>
        <p:spPr>
          <a:xfrm>
            <a:off x="0" y="7421911"/>
            <a:ext cx="13444538" cy="140939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6CDD70-F9B7-2143-9849-DDD04983E2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40304" y="1789009"/>
            <a:ext cx="8523916" cy="2164487"/>
          </a:xfrm>
          <a:noFill/>
        </p:spPr>
        <p:txBody>
          <a:bodyPr anchor="b"/>
          <a:lstStyle>
            <a:lvl1pPr algn="l">
              <a:defRPr sz="661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876A9A5-3EC2-F24E-8A78-64505D8609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40305" y="4044383"/>
            <a:ext cx="7515551" cy="823815"/>
          </a:xfrm>
        </p:spPr>
        <p:txBody>
          <a:bodyPr/>
          <a:lstStyle>
            <a:lvl1pPr marL="0" indent="0" algn="l">
              <a:buNone/>
              <a:defRPr sz="2646">
                <a:solidFill>
                  <a:schemeClr val="bg1">
                    <a:alpha val="85000"/>
                  </a:schemeClr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883B903-8754-7749-B5F0-47957463B9CE}"/>
              </a:ext>
            </a:extLst>
          </p:cNvPr>
          <p:cNvGrpSpPr/>
          <p:nvPr userDrawn="1"/>
        </p:nvGrpSpPr>
        <p:grpSpPr>
          <a:xfrm>
            <a:off x="523026" y="6304428"/>
            <a:ext cx="8636759" cy="1048495"/>
            <a:chOff x="383300" y="5571948"/>
            <a:chExt cx="11626376" cy="1411376"/>
          </a:xfrm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FE102B69-9AB2-364B-9281-E5B89C29417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6512300" y="5571948"/>
              <a:ext cx="1411376" cy="1411376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0FDF079C-F173-1940-8221-0D93A25A2F8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8555300" y="5571948"/>
              <a:ext cx="1411376" cy="1411376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6D07F488-D4F6-0C47-81F2-3F713FDEA94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10598300" y="5571948"/>
              <a:ext cx="1411376" cy="1411376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E2BC3405-90D0-F34A-98AA-B44F4BA513D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2426300" y="5571948"/>
              <a:ext cx="1411376" cy="1411376"/>
            </a:xfrm>
            <a:prstGeom prst="rect">
              <a:avLst/>
            </a:prstGeom>
          </p:spPr>
        </p:pic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A1939122-BE95-6043-A027-3EA3F47C408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383300" y="5571948"/>
              <a:ext cx="1411376" cy="1411376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96C08B5C-AEFF-844E-9ACE-B62CB0EE06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p:blipFill>
          <p:spPr>
            <a:xfrm>
              <a:off x="4469300" y="5571948"/>
              <a:ext cx="1411376" cy="1411376"/>
            </a:xfrm>
            <a:prstGeom prst="rect">
              <a:avLst/>
            </a:prstGeom>
          </p:spPr>
        </p:pic>
      </p:grpSp>
      <p:sp>
        <p:nvSpPr>
          <p:cNvPr id="18" name="object 3">
            <a:extLst>
              <a:ext uri="{FF2B5EF4-FFF2-40B4-BE49-F238E27FC236}">
                <a16:creationId xmlns:a16="http://schemas.microsoft.com/office/drawing/2014/main" id="{7E847CD3-E336-6A44-A4C0-6D6FC7DDD47C}"/>
              </a:ext>
            </a:extLst>
          </p:cNvPr>
          <p:cNvSpPr/>
          <p:nvPr userDrawn="1"/>
        </p:nvSpPr>
        <p:spPr>
          <a:xfrm>
            <a:off x="0" y="5798208"/>
            <a:ext cx="13444538" cy="942478"/>
          </a:xfrm>
          <a:prstGeom prst="rect">
            <a:avLst/>
          </a:prstGeom>
          <a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11925" b="23841"/>
            </a:stretch>
          </a:blipFill>
        </p:spPr>
        <p:txBody>
          <a:bodyPr wrap="square" lIns="0" tIns="0" rIns="0" bIns="0" rtlCol="0"/>
          <a:lstStyle/>
          <a:p>
            <a:endParaRPr sz="1985" dirty="0">
              <a:solidFill>
                <a:srgbClr val="004987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50D7A7AE-EB14-4772-B1BF-EDC6F8EC5B2A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1624183" y="442217"/>
            <a:ext cx="3898916" cy="739479"/>
          </a:xfrm>
          <a:prstGeom prst="rect">
            <a:avLst/>
          </a:prstGeom>
        </p:spPr>
      </p:pic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498ACC79-3FE6-4F94-97AE-BD5ED7B32E6E}"/>
              </a:ext>
            </a:extLst>
          </p:cNvPr>
          <p:cNvSpPr txBox="1">
            <a:spLocks/>
          </p:cNvSpPr>
          <p:nvPr userDrawn="1"/>
        </p:nvSpPr>
        <p:spPr>
          <a:xfrm>
            <a:off x="9628993" y="6691710"/>
            <a:ext cx="2664178" cy="273931"/>
          </a:xfrm>
          <a:prstGeom prst="rect">
            <a:avLst/>
          </a:prstGeom>
        </p:spPr>
        <p:txBody>
          <a:bodyPr vert="horz" lIns="0" tIns="50417" rIns="0" bIns="50417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en-US" sz="1544" dirty="0">
                <a:solidFill>
                  <a:srgbClr val="FFFFFF"/>
                </a:solidFill>
              </a:rPr>
              <a:t>communigate.ru</a:t>
            </a:r>
            <a:endParaRPr lang="ru-RU" sz="1544" dirty="0">
              <a:solidFill>
                <a:srgbClr val="FFFFFF"/>
              </a:solidFill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A2A9D4DE-762F-496D-B444-E33898E241A2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727" y="541184"/>
            <a:ext cx="1169246" cy="375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7073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9E923A3-3679-204B-9CB0-02EE2701976F}"/>
              </a:ext>
            </a:extLst>
          </p:cNvPr>
          <p:cNvSpPr/>
          <p:nvPr userDrawn="1"/>
        </p:nvSpPr>
        <p:spPr>
          <a:xfrm rot="5400000">
            <a:off x="4540496" y="581624"/>
            <a:ext cx="171641" cy="772072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 dirty="0">
              <a:solidFill>
                <a:srgbClr val="FFFFFF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BE37F23-65A4-1A45-904D-B60981A51EF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5951" y="1791483"/>
            <a:ext cx="7708281" cy="2403769"/>
          </a:xfrm>
          <a:noFill/>
        </p:spPr>
        <p:txBody>
          <a:bodyPr anchor="b">
            <a:noAutofit/>
          </a:bodyPr>
          <a:lstStyle>
            <a:lvl1pPr algn="l">
              <a:defRPr sz="6616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719E7D6B-B0FC-7445-A728-9CD018CFDC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5950" y="4655712"/>
            <a:ext cx="7720729" cy="1566208"/>
          </a:xfrm>
        </p:spPr>
        <p:txBody>
          <a:bodyPr>
            <a:noAutofit/>
          </a:bodyPr>
          <a:lstStyle>
            <a:lvl1pPr marL="0" indent="0" algn="l">
              <a:buNone/>
              <a:defRPr sz="3970">
                <a:solidFill>
                  <a:schemeClr val="accent2"/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grpSp>
        <p:nvGrpSpPr>
          <p:cNvPr id="11" name="Группа 38">
            <a:extLst>
              <a:ext uri="{FF2B5EF4-FFF2-40B4-BE49-F238E27FC236}">
                <a16:creationId xmlns:a16="http://schemas.microsoft.com/office/drawing/2014/main" id="{E6DE8678-88D6-B545-8156-71F759918A5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789291" y="0"/>
            <a:ext cx="3655247" cy="3579799"/>
            <a:chOff x="8433710" y="8224"/>
            <a:chExt cx="2258292" cy="2211591"/>
          </a:xfrm>
        </p:grpSpPr>
        <p:sp>
          <p:nvSpPr>
            <p:cNvPr id="12" name="object 18">
              <a:extLst>
                <a:ext uri="{FF2B5EF4-FFF2-40B4-BE49-F238E27FC236}">
                  <a16:creationId xmlns:a16="http://schemas.microsoft.com/office/drawing/2014/main" id="{575C318C-5466-2943-98B8-AE7BE2861A4A}"/>
                </a:ext>
              </a:extLst>
            </p:cNvPr>
            <p:cNvSpPr/>
            <p:nvPr userDrawn="1"/>
          </p:nvSpPr>
          <p:spPr>
            <a:xfrm>
              <a:off x="8841302" y="8224"/>
              <a:ext cx="1850700" cy="1879600"/>
            </a:xfrm>
            <a:prstGeom prst="rect">
              <a:avLst/>
            </a:prstGeom>
            <a:blipFill dpi="0" rotWithShape="1">
              <a:blip r:embed="rId2" cstate="print"/>
              <a:srcRect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13" name="object 19">
              <a:extLst>
                <a:ext uri="{FF2B5EF4-FFF2-40B4-BE49-F238E27FC236}">
                  <a16:creationId xmlns:a16="http://schemas.microsoft.com/office/drawing/2014/main" id="{1F7129D8-F976-6B41-B6C1-8A2823E5DDDB}"/>
                </a:ext>
              </a:extLst>
            </p:cNvPr>
            <p:cNvSpPr/>
            <p:nvPr userDrawn="1"/>
          </p:nvSpPr>
          <p:spPr>
            <a:xfrm>
              <a:off x="9876950" y="1995025"/>
              <a:ext cx="269240" cy="224790"/>
            </a:xfrm>
            <a:custGeom>
              <a:avLst/>
              <a:gdLst/>
              <a:ahLst/>
              <a:cxnLst/>
              <a:rect l="l" t="t" r="r" b="b"/>
              <a:pathLst>
                <a:path w="269240" h="224789">
                  <a:moveTo>
                    <a:pt x="99948" y="154305"/>
                  </a:moveTo>
                  <a:lnTo>
                    <a:pt x="0" y="154305"/>
                  </a:lnTo>
                  <a:lnTo>
                    <a:pt x="714" y="165343"/>
                  </a:lnTo>
                  <a:lnTo>
                    <a:pt x="25514" y="203519"/>
                  </a:lnTo>
                  <a:lnTo>
                    <a:pt x="63358" y="218921"/>
                  </a:lnTo>
                  <a:lnTo>
                    <a:pt x="109940" y="224169"/>
                  </a:lnTo>
                  <a:lnTo>
                    <a:pt x="133718" y="224764"/>
                  </a:lnTo>
                  <a:lnTo>
                    <a:pt x="166380" y="223658"/>
                  </a:lnTo>
                  <a:lnTo>
                    <a:pt x="217723" y="214563"/>
                  </a:lnTo>
                  <a:lnTo>
                    <a:pt x="260638" y="183154"/>
                  </a:lnTo>
                  <a:lnTo>
                    <a:pt x="264376" y="173545"/>
                  </a:lnTo>
                  <a:lnTo>
                    <a:pt x="136982" y="173545"/>
                  </a:lnTo>
                  <a:lnTo>
                    <a:pt x="127975" y="173296"/>
                  </a:lnTo>
                  <a:lnTo>
                    <a:pt x="100279" y="161086"/>
                  </a:lnTo>
                  <a:lnTo>
                    <a:pt x="99948" y="154305"/>
                  </a:lnTo>
                  <a:close/>
                </a:path>
                <a:path w="269240" h="224789">
                  <a:moveTo>
                    <a:pt x="124371" y="0"/>
                  </a:moveTo>
                  <a:lnTo>
                    <a:pt x="76619" y="3175"/>
                  </a:lnTo>
                  <a:lnTo>
                    <a:pt x="37909" y="13817"/>
                  </a:lnTo>
                  <a:lnTo>
                    <a:pt x="8183" y="42675"/>
                  </a:lnTo>
                  <a:lnTo>
                    <a:pt x="2755" y="76530"/>
                  </a:lnTo>
                  <a:lnTo>
                    <a:pt x="3962" y="83858"/>
                  </a:lnTo>
                  <a:lnTo>
                    <a:pt x="6146" y="90017"/>
                  </a:lnTo>
                  <a:lnTo>
                    <a:pt x="8064" y="96608"/>
                  </a:lnTo>
                  <a:lnTo>
                    <a:pt x="39744" y="123062"/>
                  </a:lnTo>
                  <a:lnTo>
                    <a:pt x="160705" y="143573"/>
                  </a:lnTo>
                  <a:lnTo>
                    <a:pt x="164668" y="145389"/>
                  </a:lnTo>
                  <a:lnTo>
                    <a:pt x="166852" y="148005"/>
                  </a:lnTo>
                  <a:lnTo>
                    <a:pt x="169062" y="150431"/>
                  </a:lnTo>
                  <a:lnTo>
                    <a:pt x="169900" y="153606"/>
                  </a:lnTo>
                  <a:lnTo>
                    <a:pt x="169900" y="161823"/>
                  </a:lnTo>
                  <a:lnTo>
                    <a:pt x="167843" y="165849"/>
                  </a:lnTo>
                  <a:lnTo>
                    <a:pt x="136982" y="173545"/>
                  </a:lnTo>
                  <a:lnTo>
                    <a:pt x="264376" y="173545"/>
                  </a:lnTo>
                  <a:lnTo>
                    <a:pt x="266709" y="167549"/>
                  </a:lnTo>
                  <a:lnTo>
                    <a:pt x="268608" y="150431"/>
                  </a:lnTo>
                  <a:lnTo>
                    <a:pt x="268620" y="148005"/>
                  </a:lnTo>
                  <a:lnTo>
                    <a:pt x="267656" y="136749"/>
                  </a:lnTo>
                  <a:lnTo>
                    <a:pt x="241071" y="101173"/>
                  </a:lnTo>
                  <a:lnTo>
                    <a:pt x="201269" y="88252"/>
                  </a:lnTo>
                  <a:lnTo>
                    <a:pt x="101904" y="73774"/>
                  </a:lnTo>
                  <a:lnTo>
                    <a:pt x="97904" y="73075"/>
                  </a:lnTo>
                  <a:lnTo>
                    <a:pt x="94995" y="71996"/>
                  </a:lnTo>
                  <a:lnTo>
                    <a:pt x="93281" y="70040"/>
                  </a:lnTo>
                  <a:lnTo>
                    <a:pt x="91922" y="68313"/>
                  </a:lnTo>
                  <a:lnTo>
                    <a:pt x="91033" y="65544"/>
                  </a:lnTo>
                  <a:lnTo>
                    <a:pt x="91033" y="58369"/>
                  </a:lnTo>
                  <a:lnTo>
                    <a:pt x="124371" y="47764"/>
                  </a:lnTo>
                  <a:lnTo>
                    <a:pt x="254472" y="47764"/>
                  </a:lnTo>
                  <a:lnTo>
                    <a:pt x="253790" y="45940"/>
                  </a:lnTo>
                  <a:lnTo>
                    <a:pt x="225882" y="17780"/>
                  </a:lnTo>
                  <a:lnTo>
                    <a:pt x="184365" y="4660"/>
                  </a:lnTo>
                  <a:lnTo>
                    <a:pt x="141231" y="288"/>
                  </a:lnTo>
                  <a:lnTo>
                    <a:pt x="124371" y="0"/>
                  </a:lnTo>
                  <a:close/>
                </a:path>
                <a:path w="269240" h="224789">
                  <a:moveTo>
                    <a:pt x="254472" y="47764"/>
                  </a:moveTo>
                  <a:lnTo>
                    <a:pt x="128993" y="47764"/>
                  </a:lnTo>
                  <a:lnTo>
                    <a:pt x="133426" y="48234"/>
                  </a:lnTo>
                  <a:lnTo>
                    <a:pt x="137871" y="48653"/>
                  </a:lnTo>
                  <a:lnTo>
                    <a:pt x="142481" y="49441"/>
                  </a:lnTo>
                  <a:lnTo>
                    <a:pt x="146735" y="50660"/>
                  </a:lnTo>
                  <a:lnTo>
                    <a:pt x="154266" y="53594"/>
                  </a:lnTo>
                  <a:lnTo>
                    <a:pt x="157391" y="56070"/>
                  </a:lnTo>
                  <a:lnTo>
                    <a:pt x="159486" y="58635"/>
                  </a:lnTo>
                  <a:lnTo>
                    <a:pt x="161683" y="61125"/>
                  </a:lnTo>
                  <a:lnTo>
                    <a:pt x="163029" y="64668"/>
                  </a:lnTo>
                  <a:lnTo>
                    <a:pt x="163029" y="68961"/>
                  </a:lnTo>
                  <a:lnTo>
                    <a:pt x="259219" y="68961"/>
                  </a:lnTo>
                  <a:lnTo>
                    <a:pt x="258276" y="60749"/>
                  </a:lnTo>
                  <a:lnTo>
                    <a:pt x="256457" y="53073"/>
                  </a:lnTo>
                  <a:lnTo>
                    <a:pt x="254472" y="47764"/>
                  </a:lnTo>
                  <a:close/>
                </a:path>
              </a:pathLst>
            </a:custGeom>
            <a:solidFill>
              <a:srgbClr val="A4B4D9">
                <a:alpha val="18000"/>
              </a:srgbClr>
            </a:solidFill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14" name="object 20">
              <a:extLst>
                <a:ext uri="{FF2B5EF4-FFF2-40B4-BE49-F238E27FC236}">
                  <a16:creationId xmlns:a16="http://schemas.microsoft.com/office/drawing/2014/main" id="{7B2B36CD-D3A5-BF49-B057-D5D3BCC74D91}"/>
                </a:ext>
              </a:extLst>
            </p:cNvPr>
            <p:cNvSpPr/>
            <p:nvPr userDrawn="1"/>
          </p:nvSpPr>
          <p:spPr>
            <a:xfrm>
              <a:off x="8433710" y="589748"/>
              <a:ext cx="343535" cy="210185"/>
            </a:xfrm>
            <a:custGeom>
              <a:avLst/>
              <a:gdLst/>
              <a:ahLst/>
              <a:cxnLst/>
              <a:rect l="l" t="t" r="r" b="b"/>
              <a:pathLst>
                <a:path w="343534" h="210184">
                  <a:moveTo>
                    <a:pt x="80213" y="0"/>
                  </a:moveTo>
                  <a:lnTo>
                    <a:pt x="0" y="0"/>
                  </a:lnTo>
                  <a:lnTo>
                    <a:pt x="61023" y="210108"/>
                  </a:lnTo>
                  <a:lnTo>
                    <a:pt x="142506" y="210108"/>
                  </a:lnTo>
                  <a:lnTo>
                    <a:pt x="162836" y="128130"/>
                  </a:lnTo>
                  <a:lnTo>
                    <a:pt x="107340" y="128130"/>
                  </a:lnTo>
                  <a:lnTo>
                    <a:pt x="80213" y="0"/>
                  </a:lnTo>
                  <a:close/>
                </a:path>
                <a:path w="343534" h="210184">
                  <a:moveTo>
                    <a:pt x="227292" y="93446"/>
                  </a:moveTo>
                  <a:lnTo>
                    <a:pt x="171919" y="93446"/>
                  </a:lnTo>
                  <a:lnTo>
                    <a:pt x="200571" y="210108"/>
                  </a:lnTo>
                  <a:lnTo>
                    <a:pt x="282003" y="210108"/>
                  </a:lnTo>
                  <a:lnTo>
                    <a:pt x="305956" y="128130"/>
                  </a:lnTo>
                  <a:lnTo>
                    <a:pt x="235597" y="128130"/>
                  </a:lnTo>
                  <a:lnTo>
                    <a:pt x="227292" y="93446"/>
                  </a:lnTo>
                  <a:close/>
                </a:path>
                <a:path w="343534" h="210184">
                  <a:moveTo>
                    <a:pt x="204914" y="0"/>
                  </a:moveTo>
                  <a:lnTo>
                    <a:pt x="138620" y="0"/>
                  </a:lnTo>
                  <a:lnTo>
                    <a:pt x="107810" y="128130"/>
                  </a:lnTo>
                  <a:lnTo>
                    <a:pt x="162836" y="128130"/>
                  </a:lnTo>
                  <a:lnTo>
                    <a:pt x="171437" y="93446"/>
                  </a:lnTo>
                  <a:lnTo>
                    <a:pt x="227292" y="93446"/>
                  </a:lnTo>
                  <a:lnTo>
                    <a:pt x="204914" y="0"/>
                  </a:lnTo>
                  <a:close/>
                </a:path>
                <a:path w="343534" h="210184">
                  <a:moveTo>
                    <a:pt x="343395" y="0"/>
                  </a:moveTo>
                  <a:lnTo>
                    <a:pt x="263283" y="0"/>
                  </a:lnTo>
                  <a:lnTo>
                    <a:pt x="236194" y="128130"/>
                  </a:lnTo>
                  <a:lnTo>
                    <a:pt x="305956" y="128130"/>
                  </a:lnTo>
                  <a:lnTo>
                    <a:pt x="343395" y="0"/>
                  </a:lnTo>
                  <a:close/>
                </a:path>
              </a:pathLst>
            </a:custGeom>
            <a:solidFill>
              <a:srgbClr val="A4B4D9">
                <a:alpha val="18000"/>
              </a:srgbClr>
            </a:solidFill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348968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+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DB1D532-5A2B-404F-8F0B-9273B977BCBA}"/>
              </a:ext>
            </a:extLst>
          </p:cNvPr>
          <p:cNvSpPr/>
          <p:nvPr userDrawn="1"/>
        </p:nvSpPr>
        <p:spPr>
          <a:xfrm>
            <a:off x="518999" y="1186684"/>
            <a:ext cx="12406541" cy="584781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16" name="object 3">
            <a:extLst>
              <a:ext uri="{FF2B5EF4-FFF2-40B4-BE49-F238E27FC236}">
                <a16:creationId xmlns:a16="http://schemas.microsoft.com/office/drawing/2014/main" id="{6493A614-6C9D-FB40-AC48-8632AF7BA77A}"/>
              </a:ext>
            </a:extLst>
          </p:cNvPr>
          <p:cNvSpPr/>
          <p:nvPr userDrawn="1"/>
        </p:nvSpPr>
        <p:spPr>
          <a:xfrm>
            <a:off x="518999" y="3770533"/>
            <a:ext cx="12385913" cy="94247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11925" r="3" b="23841"/>
            </a:stretch>
          </a:blipFill>
        </p:spPr>
        <p:txBody>
          <a:bodyPr wrap="square" lIns="0" tIns="0" rIns="0" bIns="0" rtlCol="0"/>
          <a:lstStyle/>
          <a:p>
            <a:endParaRPr sz="1985" dirty="0">
              <a:solidFill>
                <a:srgbClr val="004987"/>
              </a:solidFill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654C340A-5A64-9A4B-BC7B-C2435778AD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8531" y="1567375"/>
            <a:ext cx="8657412" cy="2203158"/>
          </a:xfrm>
          <a:noFill/>
        </p:spPr>
        <p:txBody>
          <a:bodyPr anchor="b">
            <a:noAutofit/>
          </a:bodyPr>
          <a:lstStyle>
            <a:lvl1pPr algn="l">
              <a:defRPr sz="463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0196E1D2-2B06-124B-B328-57B1FA52A8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04734" y="4528015"/>
            <a:ext cx="7272603" cy="1904388"/>
          </a:xfr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bg1">
                    <a:alpha val="85000"/>
                  </a:schemeClr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4245496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BG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D2CD5905-A338-204F-BD5C-56C29B940D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13444537" cy="756285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4B35F3AC-1D85-4ED7-9A9B-AED993EF57F3}"/>
              </a:ext>
            </a:extLst>
          </p:cNvPr>
          <p:cNvSpPr/>
          <p:nvPr userDrawn="1"/>
        </p:nvSpPr>
        <p:spPr>
          <a:xfrm>
            <a:off x="518999" y="4411663"/>
            <a:ext cx="12406541" cy="2622831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654C340A-5A64-9A4B-BC7B-C2435778AD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86676" y="1344507"/>
            <a:ext cx="6743695" cy="2876838"/>
          </a:xfrm>
          <a:noFill/>
        </p:spPr>
        <p:txBody>
          <a:bodyPr anchor="b">
            <a:noAutofit/>
          </a:bodyPr>
          <a:lstStyle>
            <a:lvl1pPr marL="0" indent="0" algn="l">
              <a:defRPr sz="463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0196E1D2-2B06-124B-B328-57B1FA52A8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6677" y="4565721"/>
            <a:ext cx="6743693" cy="2212834"/>
          </a:xfr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bg1"/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E4C5CF7-B5B0-464C-A15F-5C3E75782A6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786678" y="387823"/>
            <a:ext cx="1949172" cy="36968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6522D32-62D2-430D-AFA6-F975B9DA3BB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444955"/>
            <a:ext cx="620939" cy="199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59416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+ BG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D2CD5905-A338-204F-BD5C-56C29B940D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13444537" cy="756285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08B3CE9-D8FA-4DAD-9625-E2CBBDE45742}"/>
              </a:ext>
            </a:extLst>
          </p:cNvPr>
          <p:cNvSpPr/>
          <p:nvPr userDrawn="1"/>
        </p:nvSpPr>
        <p:spPr>
          <a:xfrm>
            <a:off x="1" y="0"/>
            <a:ext cx="13444537" cy="7562850"/>
          </a:xfrm>
          <a:prstGeom prst="rect">
            <a:avLst/>
          </a:prstGeom>
          <a:solidFill>
            <a:schemeClr val="tx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E4C5CF7-B5B0-464C-A15F-5C3E75782A6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786678" y="387823"/>
            <a:ext cx="1949172" cy="36968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6522D32-62D2-430D-AFA6-F975B9DA3BB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444955"/>
            <a:ext cx="620939" cy="199177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FC82078D-8AD5-4C24-B00E-50683E3F5C49}"/>
              </a:ext>
            </a:extLst>
          </p:cNvPr>
          <p:cNvSpPr/>
          <p:nvPr userDrawn="1"/>
        </p:nvSpPr>
        <p:spPr>
          <a:xfrm>
            <a:off x="518999" y="4411663"/>
            <a:ext cx="12406541" cy="2622831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>
                  <a:alpha val="74000"/>
                </a:srgbClr>
              </a:solidFill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FCC3EF-504E-47E4-BBB0-4323C435C3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86676" y="1344507"/>
            <a:ext cx="6743695" cy="2876838"/>
          </a:xfrm>
          <a:noFill/>
        </p:spPr>
        <p:txBody>
          <a:bodyPr anchor="b">
            <a:noAutofit/>
          </a:bodyPr>
          <a:lstStyle>
            <a:lvl1pPr marL="0" indent="0" algn="l">
              <a:defRPr sz="463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0A48DF20-114D-401A-A2FC-8954AD1018D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6677" y="4565721"/>
            <a:ext cx="6743694" cy="2212834"/>
          </a:xfr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bg2">
                    <a:lumMod val="10000"/>
                    <a:alpha val="85000"/>
                  </a:schemeClr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4165935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BG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EFA8F83-F4B5-4710-A37B-6AE06CBCD4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3444537" cy="756285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9EA6649-4A44-4A8F-A7DA-A48AEBF96798}"/>
              </a:ext>
            </a:extLst>
          </p:cNvPr>
          <p:cNvSpPr/>
          <p:nvPr userDrawn="1"/>
        </p:nvSpPr>
        <p:spPr>
          <a:xfrm>
            <a:off x="1" y="0"/>
            <a:ext cx="13444537" cy="756285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B35F3AC-1D85-4ED7-9A9B-AED993EF57F3}"/>
              </a:ext>
            </a:extLst>
          </p:cNvPr>
          <p:cNvSpPr/>
          <p:nvPr userDrawn="1"/>
        </p:nvSpPr>
        <p:spPr>
          <a:xfrm>
            <a:off x="518999" y="4411663"/>
            <a:ext cx="12406541" cy="2622831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>
                  <a:alpha val="74000"/>
                </a:srgbClr>
              </a:solidFill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654C340A-5A64-9A4B-BC7B-C2435778AD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86676" y="1344507"/>
            <a:ext cx="6743695" cy="2876838"/>
          </a:xfrm>
          <a:noFill/>
        </p:spPr>
        <p:txBody>
          <a:bodyPr anchor="b">
            <a:noAutofit/>
          </a:bodyPr>
          <a:lstStyle>
            <a:lvl1pPr marL="0" indent="0" algn="l">
              <a:defRPr sz="463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0196E1D2-2B06-124B-B328-57B1FA52A8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6677" y="4565721"/>
            <a:ext cx="6743694" cy="2212834"/>
          </a:xfr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bg2">
                    <a:lumMod val="10000"/>
                    <a:alpha val="85000"/>
                  </a:schemeClr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E4C5CF7-B5B0-464C-A15F-5C3E75782A6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786678" y="387823"/>
            <a:ext cx="1949172" cy="36968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EC0DB10-65C3-4912-B05E-ED30D98550C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444955"/>
            <a:ext cx="620939" cy="199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950432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3">
            <a:extLst>
              <a:ext uri="{FF2B5EF4-FFF2-40B4-BE49-F238E27FC236}">
                <a16:creationId xmlns:a16="http://schemas.microsoft.com/office/drawing/2014/main" id="{38A268AC-3A88-614C-86BC-D1B1374B3D19}"/>
              </a:ext>
            </a:extLst>
          </p:cNvPr>
          <p:cNvSpPr/>
          <p:nvPr userDrawn="1"/>
        </p:nvSpPr>
        <p:spPr>
          <a:xfrm>
            <a:off x="0" y="3889582"/>
            <a:ext cx="13486850" cy="94247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11925" b="23841"/>
            </a:stretch>
          </a:blipFill>
        </p:spPr>
        <p:txBody>
          <a:bodyPr wrap="square" lIns="0" tIns="0" rIns="0" bIns="0" rtlCol="0"/>
          <a:lstStyle/>
          <a:p>
            <a:endParaRPr sz="1985" dirty="0">
              <a:solidFill>
                <a:srgbClr val="004987"/>
              </a:solidFill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654C340A-5A64-9A4B-BC7B-C2435778AD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2346" y="2770101"/>
            <a:ext cx="7701886" cy="1302491"/>
          </a:xfrm>
          <a:noFill/>
        </p:spPr>
        <p:txBody>
          <a:bodyPr anchor="b">
            <a:noAutofit/>
          </a:bodyPr>
          <a:lstStyle>
            <a:lvl1pPr marL="0" indent="0" algn="l">
              <a:defRPr sz="463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0196E1D2-2B06-124B-B328-57B1FA52A8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72346" y="4429858"/>
            <a:ext cx="7701886" cy="1266039"/>
          </a:xfr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bg2">
                    <a:lumMod val="10000"/>
                  </a:schemeClr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187206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Группа 70">
            <a:extLst>
              <a:ext uri="{FF2B5EF4-FFF2-40B4-BE49-F238E27FC236}">
                <a16:creationId xmlns:a16="http://schemas.microsoft.com/office/drawing/2014/main" id="{B9030E0A-4187-7244-B44D-90EA8EFD6799}"/>
              </a:ext>
            </a:extLst>
          </p:cNvPr>
          <p:cNvGrpSpPr/>
          <p:nvPr userDrawn="1"/>
        </p:nvGrpSpPr>
        <p:grpSpPr>
          <a:xfrm flipH="1">
            <a:off x="8883319" y="4033520"/>
            <a:ext cx="4561218" cy="3538507"/>
            <a:chOff x="13855" y="3999377"/>
            <a:chExt cx="4519736" cy="3561296"/>
          </a:xfrm>
        </p:grpSpPr>
        <p:sp>
          <p:nvSpPr>
            <p:cNvPr id="34" name="object 4">
              <a:extLst>
                <a:ext uri="{FF2B5EF4-FFF2-40B4-BE49-F238E27FC236}">
                  <a16:creationId xmlns:a16="http://schemas.microsoft.com/office/drawing/2014/main" id="{FBD99BEF-9150-6549-B942-29C9C9BE228A}"/>
                </a:ext>
              </a:extLst>
            </p:cNvPr>
            <p:cNvSpPr/>
            <p:nvPr/>
          </p:nvSpPr>
          <p:spPr>
            <a:xfrm>
              <a:off x="2268489" y="6903499"/>
              <a:ext cx="1025525" cy="656590"/>
            </a:xfrm>
            <a:custGeom>
              <a:avLst/>
              <a:gdLst/>
              <a:ahLst/>
              <a:cxnLst/>
              <a:rect l="l" t="t" r="r" b="b"/>
              <a:pathLst>
                <a:path w="1025525" h="656590">
                  <a:moveTo>
                    <a:pt x="308265" y="656556"/>
                  </a:moveTo>
                  <a:lnTo>
                    <a:pt x="0" y="347306"/>
                  </a:lnTo>
                  <a:lnTo>
                    <a:pt x="27450" y="309504"/>
                  </a:lnTo>
                  <a:lnTo>
                    <a:pt x="52474" y="269931"/>
                  </a:lnTo>
                  <a:lnTo>
                    <a:pt x="74935" y="228673"/>
                  </a:lnTo>
                  <a:lnTo>
                    <a:pt x="94695" y="185812"/>
                  </a:lnTo>
                  <a:lnTo>
                    <a:pt x="111620" y="141430"/>
                  </a:lnTo>
                  <a:lnTo>
                    <a:pt x="125571" y="95612"/>
                  </a:lnTo>
                  <a:lnTo>
                    <a:pt x="136411" y="48441"/>
                  </a:lnTo>
                  <a:lnTo>
                    <a:pt x="144005" y="0"/>
                  </a:lnTo>
                  <a:lnTo>
                    <a:pt x="1025156" y="0"/>
                  </a:lnTo>
                  <a:lnTo>
                    <a:pt x="1021703" y="50600"/>
                  </a:lnTo>
                  <a:lnTo>
                    <a:pt x="1016686" y="100754"/>
                  </a:lnTo>
                  <a:lnTo>
                    <a:pt x="1010128" y="150439"/>
                  </a:lnTo>
                  <a:lnTo>
                    <a:pt x="1002053" y="199630"/>
                  </a:lnTo>
                  <a:lnTo>
                    <a:pt x="992484" y="248303"/>
                  </a:lnTo>
                  <a:lnTo>
                    <a:pt x="981446" y="296435"/>
                  </a:lnTo>
                  <a:lnTo>
                    <a:pt x="968960" y="344001"/>
                  </a:lnTo>
                  <a:lnTo>
                    <a:pt x="955052" y="390978"/>
                  </a:lnTo>
                  <a:lnTo>
                    <a:pt x="939744" y="437342"/>
                  </a:lnTo>
                  <a:lnTo>
                    <a:pt x="923059" y="483068"/>
                  </a:lnTo>
                  <a:lnTo>
                    <a:pt x="905022" y="528132"/>
                  </a:lnTo>
                  <a:lnTo>
                    <a:pt x="885656" y="572511"/>
                  </a:lnTo>
                  <a:lnTo>
                    <a:pt x="864983" y="616181"/>
                  </a:lnTo>
                  <a:lnTo>
                    <a:pt x="844338" y="656556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35" name="object 5">
              <a:extLst>
                <a:ext uri="{FF2B5EF4-FFF2-40B4-BE49-F238E27FC236}">
                  <a16:creationId xmlns:a16="http://schemas.microsoft.com/office/drawing/2014/main" id="{A72593C4-A76D-9F4D-97EC-9A451C75E2C8}"/>
                </a:ext>
              </a:extLst>
            </p:cNvPr>
            <p:cNvSpPr/>
            <p:nvPr/>
          </p:nvSpPr>
          <p:spPr>
            <a:xfrm>
              <a:off x="1799833" y="7372078"/>
              <a:ext cx="535305" cy="188595"/>
            </a:xfrm>
            <a:custGeom>
              <a:avLst/>
              <a:gdLst/>
              <a:ahLst/>
              <a:cxnLst/>
              <a:rect l="l" t="t" r="r" b="b"/>
              <a:pathLst>
                <a:path w="535305" h="188595">
                  <a:moveTo>
                    <a:pt x="0" y="187977"/>
                  </a:moveTo>
                  <a:lnTo>
                    <a:pt x="0" y="144538"/>
                  </a:lnTo>
                  <a:lnTo>
                    <a:pt x="48085" y="137022"/>
                  </a:lnTo>
                  <a:lnTo>
                    <a:pt x="95080" y="126322"/>
                  </a:lnTo>
                  <a:lnTo>
                    <a:pt x="140862" y="112523"/>
                  </a:lnTo>
                  <a:lnTo>
                    <a:pt x="185312" y="95710"/>
                  </a:lnTo>
                  <a:lnTo>
                    <a:pt x="228309" y="75966"/>
                  </a:lnTo>
                  <a:lnTo>
                    <a:pt x="269733" y="53377"/>
                  </a:lnTo>
                  <a:lnTo>
                    <a:pt x="309465" y="28026"/>
                  </a:lnTo>
                  <a:lnTo>
                    <a:pt x="347383" y="0"/>
                  </a:lnTo>
                  <a:lnTo>
                    <a:pt x="534998" y="187977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36" name="object 6">
              <a:extLst>
                <a:ext uri="{FF2B5EF4-FFF2-40B4-BE49-F238E27FC236}">
                  <a16:creationId xmlns:a16="http://schemas.microsoft.com/office/drawing/2014/main" id="{F42E8559-A9E2-834A-964B-0848C6304BA2}"/>
                </a:ext>
              </a:extLst>
            </p:cNvPr>
            <p:cNvSpPr/>
            <p:nvPr/>
          </p:nvSpPr>
          <p:spPr>
            <a:xfrm>
              <a:off x="1799833" y="7068180"/>
              <a:ext cx="212725" cy="259079"/>
            </a:xfrm>
            <a:custGeom>
              <a:avLst/>
              <a:gdLst/>
              <a:ahLst/>
              <a:cxnLst/>
              <a:rect l="l" t="t" r="r" b="b"/>
              <a:pathLst>
                <a:path w="212725" h="259079">
                  <a:moveTo>
                    <a:pt x="0" y="17945"/>
                  </a:moveTo>
                  <a:lnTo>
                    <a:pt x="11008" y="14023"/>
                  </a:lnTo>
                  <a:lnTo>
                    <a:pt x="21820" y="9829"/>
                  </a:lnTo>
                  <a:lnTo>
                    <a:pt x="32405" y="5207"/>
                  </a:lnTo>
                  <a:lnTo>
                    <a:pt x="42735" y="0"/>
                  </a:lnTo>
                  <a:lnTo>
                    <a:pt x="212610" y="169887"/>
                  </a:lnTo>
                  <a:lnTo>
                    <a:pt x="174148" y="194752"/>
                  </a:lnTo>
                  <a:lnTo>
                    <a:pt x="133442" y="216222"/>
                  </a:lnTo>
                  <a:lnTo>
                    <a:pt x="90707" y="234143"/>
                  </a:lnTo>
                  <a:lnTo>
                    <a:pt x="46155" y="248362"/>
                  </a:lnTo>
                  <a:lnTo>
                    <a:pt x="0" y="258724"/>
                  </a:lnTo>
                  <a:lnTo>
                    <a:pt x="0" y="17945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37" name="object 7">
              <a:extLst>
                <a:ext uri="{FF2B5EF4-FFF2-40B4-BE49-F238E27FC236}">
                  <a16:creationId xmlns:a16="http://schemas.microsoft.com/office/drawing/2014/main" id="{52A38894-8084-F047-A734-CF5684B20798}"/>
                </a:ext>
              </a:extLst>
            </p:cNvPr>
            <p:cNvSpPr/>
            <p:nvPr/>
          </p:nvSpPr>
          <p:spPr>
            <a:xfrm>
              <a:off x="1799833" y="6310663"/>
              <a:ext cx="212725" cy="264160"/>
            </a:xfrm>
            <a:custGeom>
              <a:avLst/>
              <a:gdLst/>
              <a:ahLst/>
              <a:cxnLst/>
              <a:rect l="l" t="t" r="r" b="b"/>
              <a:pathLst>
                <a:path w="212725" h="264159">
                  <a:moveTo>
                    <a:pt x="0" y="0"/>
                  </a:moveTo>
                  <a:lnTo>
                    <a:pt x="46155" y="10059"/>
                  </a:lnTo>
                  <a:lnTo>
                    <a:pt x="90707" y="23941"/>
                  </a:lnTo>
                  <a:lnTo>
                    <a:pt x="133442" y="41662"/>
                  </a:lnTo>
                  <a:lnTo>
                    <a:pt x="174148" y="63238"/>
                  </a:lnTo>
                  <a:lnTo>
                    <a:pt x="212610" y="88684"/>
                  </a:lnTo>
                  <a:lnTo>
                    <a:pt x="37401" y="263829"/>
                  </a:lnTo>
                  <a:lnTo>
                    <a:pt x="28221" y="259821"/>
                  </a:lnTo>
                  <a:lnTo>
                    <a:pt x="18919" y="255901"/>
                  </a:lnTo>
                  <a:lnTo>
                    <a:pt x="9508" y="252224"/>
                  </a:lnTo>
                  <a:lnTo>
                    <a:pt x="0" y="248945"/>
                  </a:lnTo>
                  <a:lnTo>
                    <a:pt x="0" y="0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38" name="object 8">
              <a:extLst>
                <a:ext uri="{FF2B5EF4-FFF2-40B4-BE49-F238E27FC236}">
                  <a16:creationId xmlns:a16="http://schemas.microsoft.com/office/drawing/2014/main" id="{EDBEF693-950A-074A-9BA2-525ADFFD4DF1}"/>
                </a:ext>
              </a:extLst>
            </p:cNvPr>
            <p:cNvSpPr/>
            <p:nvPr/>
          </p:nvSpPr>
          <p:spPr>
            <a:xfrm>
              <a:off x="1962381" y="6903499"/>
              <a:ext cx="259715" cy="214629"/>
            </a:xfrm>
            <a:custGeom>
              <a:avLst/>
              <a:gdLst/>
              <a:ahLst/>
              <a:cxnLst/>
              <a:rect l="l" t="t" r="r" b="b"/>
              <a:pathLst>
                <a:path w="259714" h="214629">
                  <a:moveTo>
                    <a:pt x="259397" y="0"/>
                  </a:moveTo>
                  <a:lnTo>
                    <a:pt x="249381" y="46754"/>
                  </a:lnTo>
                  <a:lnTo>
                    <a:pt x="235421" y="91748"/>
                  </a:lnTo>
                  <a:lnTo>
                    <a:pt x="217625" y="134795"/>
                  </a:lnTo>
                  <a:lnTo>
                    <a:pt x="196101" y="175708"/>
                  </a:lnTo>
                  <a:lnTo>
                    <a:pt x="170954" y="214299"/>
                  </a:lnTo>
                  <a:lnTo>
                    <a:pt x="0" y="42354"/>
                  </a:lnTo>
                  <a:lnTo>
                    <a:pt x="4593" y="31998"/>
                  </a:lnTo>
                  <a:lnTo>
                    <a:pt x="8799" y="21572"/>
                  </a:lnTo>
                  <a:lnTo>
                    <a:pt x="12689" y="10948"/>
                  </a:lnTo>
                  <a:lnTo>
                    <a:pt x="16332" y="0"/>
                  </a:lnTo>
                  <a:lnTo>
                    <a:pt x="259397" y="0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39" name="object 9">
              <a:extLst>
                <a:ext uri="{FF2B5EF4-FFF2-40B4-BE49-F238E27FC236}">
                  <a16:creationId xmlns:a16="http://schemas.microsoft.com/office/drawing/2014/main" id="{2BB09B3F-0E5E-CB4E-A814-1745E37F7F59}"/>
                </a:ext>
              </a:extLst>
            </p:cNvPr>
            <p:cNvSpPr/>
            <p:nvPr/>
          </p:nvSpPr>
          <p:spPr>
            <a:xfrm>
              <a:off x="1959256" y="6520378"/>
              <a:ext cx="262890" cy="213360"/>
            </a:xfrm>
            <a:custGeom>
              <a:avLst/>
              <a:gdLst/>
              <a:ahLst/>
              <a:cxnLst/>
              <a:rect l="l" t="t" r="r" b="b"/>
              <a:pathLst>
                <a:path w="262889" h="213359">
                  <a:moveTo>
                    <a:pt x="16713" y="213233"/>
                  </a:moveTo>
                  <a:lnTo>
                    <a:pt x="13378" y="202533"/>
                  </a:lnTo>
                  <a:lnTo>
                    <a:pt x="9409" y="192552"/>
                  </a:lnTo>
                  <a:lnTo>
                    <a:pt x="4913" y="183145"/>
                  </a:lnTo>
                  <a:lnTo>
                    <a:pt x="0" y="174167"/>
                  </a:lnTo>
                  <a:lnTo>
                    <a:pt x="174078" y="0"/>
                  </a:lnTo>
                  <a:lnTo>
                    <a:pt x="199225" y="38107"/>
                  </a:lnTo>
                  <a:lnTo>
                    <a:pt x="220750" y="78722"/>
                  </a:lnTo>
                  <a:lnTo>
                    <a:pt x="238545" y="121607"/>
                  </a:lnTo>
                  <a:lnTo>
                    <a:pt x="252505" y="166524"/>
                  </a:lnTo>
                  <a:lnTo>
                    <a:pt x="262521" y="213233"/>
                  </a:lnTo>
                  <a:lnTo>
                    <a:pt x="16713" y="213233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40" name="object 10">
              <a:extLst>
                <a:ext uri="{FF2B5EF4-FFF2-40B4-BE49-F238E27FC236}">
                  <a16:creationId xmlns:a16="http://schemas.microsoft.com/office/drawing/2014/main" id="{CB7D43C7-A5E7-3540-BC36-6C4236210F85}"/>
                </a:ext>
              </a:extLst>
            </p:cNvPr>
            <p:cNvSpPr/>
            <p:nvPr/>
          </p:nvSpPr>
          <p:spPr>
            <a:xfrm>
              <a:off x="1799833" y="5243291"/>
              <a:ext cx="968375" cy="1022350"/>
            </a:xfrm>
            <a:custGeom>
              <a:avLst/>
              <a:gdLst/>
              <a:ahLst/>
              <a:cxnLst/>
              <a:rect l="l" t="t" r="r" b="b"/>
              <a:pathLst>
                <a:path w="968375" h="1022350">
                  <a:moveTo>
                    <a:pt x="0" y="0"/>
                  </a:moveTo>
                  <a:lnTo>
                    <a:pt x="52767" y="3735"/>
                  </a:lnTo>
                  <a:lnTo>
                    <a:pt x="105039" y="9168"/>
                  </a:lnTo>
                  <a:lnTo>
                    <a:pt x="156789" y="16270"/>
                  </a:lnTo>
                  <a:lnTo>
                    <a:pt x="207988" y="25016"/>
                  </a:lnTo>
                  <a:lnTo>
                    <a:pt x="258610" y="35381"/>
                  </a:lnTo>
                  <a:lnTo>
                    <a:pt x="308628" y="47339"/>
                  </a:lnTo>
                  <a:lnTo>
                    <a:pt x="358013" y="60863"/>
                  </a:lnTo>
                  <a:lnTo>
                    <a:pt x="406740" y="75927"/>
                  </a:lnTo>
                  <a:lnTo>
                    <a:pt x="454780" y="92507"/>
                  </a:lnTo>
                  <a:lnTo>
                    <a:pt x="502105" y="110575"/>
                  </a:lnTo>
                  <a:lnTo>
                    <a:pt x="548690" y="130106"/>
                  </a:lnTo>
                  <a:lnTo>
                    <a:pt x="594506" y="151074"/>
                  </a:lnTo>
                  <a:lnTo>
                    <a:pt x="639527" y="173453"/>
                  </a:lnTo>
                  <a:lnTo>
                    <a:pt x="683724" y="197217"/>
                  </a:lnTo>
                  <a:lnTo>
                    <a:pt x="727071" y="222341"/>
                  </a:lnTo>
                  <a:lnTo>
                    <a:pt x="769540" y="248798"/>
                  </a:lnTo>
                  <a:lnTo>
                    <a:pt x="811105" y="276562"/>
                  </a:lnTo>
                  <a:lnTo>
                    <a:pt x="851736" y="305608"/>
                  </a:lnTo>
                  <a:lnTo>
                    <a:pt x="891409" y="335910"/>
                  </a:lnTo>
                  <a:lnTo>
                    <a:pt x="930094" y="367441"/>
                  </a:lnTo>
                  <a:lnTo>
                    <a:pt x="967765" y="400177"/>
                  </a:lnTo>
                  <a:lnTo>
                    <a:pt x="347383" y="1021969"/>
                  </a:lnTo>
                  <a:lnTo>
                    <a:pt x="309465" y="994204"/>
                  </a:lnTo>
                  <a:lnTo>
                    <a:pt x="269733" y="968973"/>
                  </a:lnTo>
                  <a:lnTo>
                    <a:pt x="228309" y="946392"/>
                  </a:lnTo>
                  <a:lnTo>
                    <a:pt x="185312" y="926572"/>
                  </a:lnTo>
                  <a:lnTo>
                    <a:pt x="140862" y="909630"/>
                  </a:lnTo>
                  <a:lnTo>
                    <a:pt x="95080" y="895678"/>
                  </a:lnTo>
                  <a:lnTo>
                    <a:pt x="48085" y="884830"/>
                  </a:lnTo>
                  <a:lnTo>
                    <a:pt x="0" y="877201"/>
                  </a:lnTo>
                  <a:lnTo>
                    <a:pt x="0" y="0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41" name="object 11">
              <a:extLst>
                <a:ext uri="{FF2B5EF4-FFF2-40B4-BE49-F238E27FC236}">
                  <a16:creationId xmlns:a16="http://schemas.microsoft.com/office/drawing/2014/main" id="{579C6DE5-D343-2242-A9D7-234200EFA475}"/>
                </a:ext>
              </a:extLst>
            </p:cNvPr>
            <p:cNvSpPr/>
            <p:nvPr/>
          </p:nvSpPr>
          <p:spPr>
            <a:xfrm>
              <a:off x="2268489" y="5764995"/>
              <a:ext cx="1024255" cy="969010"/>
            </a:xfrm>
            <a:custGeom>
              <a:avLst/>
              <a:gdLst/>
              <a:ahLst/>
              <a:cxnLst/>
              <a:rect l="l" t="t" r="r" b="b"/>
              <a:pathLst>
                <a:path w="1024254" h="969009">
                  <a:moveTo>
                    <a:pt x="1024102" y="968616"/>
                  </a:moveTo>
                  <a:lnTo>
                    <a:pt x="144005" y="968616"/>
                  </a:lnTo>
                  <a:lnTo>
                    <a:pt x="136411" y="920119"/>
                  </a:lnTo>
                  <a:lnTo>
                    <a:pt x="125571" y="872812"/>
                  </a:lnTo>
                  <a:lnTo>
                    <a:pt x="111620" y="826814"/>
                  </a:lnTo>
                  <a:lnTo>
                    <a:pt x="94695" y="782242"/>
                  </a:lnTo>
                  <a:lnTo>
                    <a:pt x="74935" y="739212"/>
                  </a:lnTo>
                  <a:lnTo>
                    <a:pt x="52474" y="697841"/>
                  </a:lnTo>
                  <a:lnTo>
                    <a:pt x="27450" y="658247"/>
                  </a:lnTo>
                  <a:lnTo>
                    <a:pt x="0" y="620547"/>
                  </a:lnTo>
                  <a:lnTo>
                    <a:pt x="620382" y="0"/>
                  </a:lnTo>
                  <a:lnTo>
                    <a:pt x="653297" y="37615"/>
                  </a:lnTo>
                  <a:lnTo>
                    <a:pt x="685015" y="76262"/>
                  </a:lnTo>
                  <a:lnTo>
                    <a:pt x="715510" y="115910"/>
                  </a:lnTo>
                  <a:lnTo>
                    <a:pt x="744754" y="156533"/>
                  </a:lnTo>
                  <a:lnTo>
                    <a:pt x="772719" y="198101"/>
                  </a:lnTo>
                  <a:lnTo>
                    <a:pt x="799379" y="240585"/>
                  </a:lnTo>
                  <a:lnTo>
                    <a:pt x="824706" y="283959"/>
                  </a:lnTo>
                  <a:lnTo>
                    <a:pt x="848673" y="328193"/>
                  </a:lnTo>
                  <a:lnTo>
                    <a:pt x="871252" y="373258"/>
                  </a:lnTo>
                  <a:lnTo>
                    <a:pt x="892418" y="419128"/>
                  </a:lnTo>
                  <a:lnTo>
                    <a:pt x="912141" y="465772"/>
                  </a:lnTo>
                  <a:lnTo>
                    <a:pt x="930396" y="513164"/>
                  </a:lnTo>
                  <a:lnTo>
                    <a:pt x="947155" y="561274"/>
                  </a:lnTo>
                  <a:lnTo>
                    <a:pt x="962391" y="610074"/>
                  </a:lnTo>
                  <a:lnTo>
                    <a:pt x="976076" y="659535"/>
                  </a:lnTo>
                  <a:lnTo>
                    <a:pt x="988183" y="709631"/>
                  </a:lnTo>
                  <a:lnTo>
                    <a:pt x="998686" y="760331"/>
                  </a:lnTo>
                  <a:lnTo>
                    <a:pt x="1007556" y="811608"/>
                  </a:lnTo>
                  <a:lnTo>
                    <a:pt x="1014767" y="863434"/>
                  </a:lnTo>
                  <a:lnTo>
                    <a:pt x="1020292" y="915779"/>
                  </a:lnTo>
                  <a:lnTo>
                    <a:pt x="1024102" y="968616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42" name="object 12">
              <a:extLst>
                <a:ext uri="{FF2B5EF4-FFF2-40B4-BE49-F238E27FC236}">
                  <a16:creationId xmlns:a16="http://schemas.microsoft.com/office/drawing/2014/main" id="{FD260CC0-4205-7846-812F-E5931BD65FB0}"/>
                </a:ext>
              </a:extLst>
            </p:cNvPr>
            <p:cNvSpPr/>
            <p:nvPr/>
          </p:nvSpPr>
          <p:spPr>
            <a:xfrm>
              <a:off x="660720" y="5243291"/>
              <a:ext cx="967740" cy="1022350"/>
            </a:xfrm>
            <a:custGeom>
              <a:avLst/>
              <a:gdLst/>
              <a:ahLst/>
              <a:cxnLst/>
              <a:rect l="l" t="t" r="r" b="b"/>
              <a:pathLst>
                <a:path w="967739" h="1022350">
                  <a:moveTo>
                    <a:pt x="967701" y="877201"/>
                  </a:moveTo>
                  <a:lnTo>
                    <a:pt x="919599" y="884830"/>
                  </a:lnTo>
                  <a:lnTo>
                    <a:pt x="872570" y="895678"/>
                  </a:lnTo>
                  <a:lnTo>
                    <a:pt x="826744" y="909630"/>
                  </a:lnTo>
                  <a:lnTo>
                    <a:pt x="782250" y="926572"/>
                  </a:lnTo>
                  <a:lnTo>
                    <a:pt x="739215" y="946392"/>
                  </a:lnTo>
                  <a:lnTo>
                    <a:pt x="697768" y="968973"/>
                  </a:lnTo>
                  <a:lnTo>
                    <a:pt x="658038" y="994204"/>
                  </a:lnTo>
                  <a:lnTo>
                    <a:pt x="620153" y="1021969"/>
                  </a:lnTo>
                  <a:lnTo>
                    <a:pt x="0" y="400177"/>
                  </a:lnTo>
                  <a:lnTo>
                    <a:pt x="37652" y="367441"/>
                  </a:lnTo>
                  <a:lnTo>
                    <a:pt x="76321" y="335910"/>
                  </a:lnTo>
                  <a:lnTo>
                    <a:pt x="115980" y="305608"/>
                  </a:lnTo>
                  <a:lnTo>
                    <a:pt x="156600" y="276562"/>
                  </a:lnTo>
                  <a:lnTo>
                    <a:pt x="198155" y="248798"/>
                  </a:lnTo>
                  <a:lnTo>
                    <a:pt x="240617" y="222341"/>
                  </a:lnTo>
                  <a:lnTo>
                    <a:pt x="283959" y="197217"/>
                  </a:lnTo>
                  <a:lnTo>
                    <a:pt x="328152" y="173453"/>
                  </a:lnTo>
                  <a:lnTo>
                    <a:pt x="373170" y="151074"/>
                  </a:lnTo>
                  <a:lnTo>
                    <a:pt x="418985" y="130106"/>
                  </a:lnTo>
                  <a:lnTo>
                    <a:pt x="465570" y="110575"/>
                  </a:lnTo>
                  <a:lnTo>
                    <a:pt x="512897" y="92507"/>
                  </a:lnTo>
                  <a:lnTo>
                    <a:pt x="560939" y="75927"/>
                  </a:lnTo>
                  <a:lnTo>
                    <a:pt x="609667" y="60863"/>
                  </a:lnTo>
                  <a:lnTo>
                    <a:pt x="659056" y="47339"/>
                  </a:lnTo>
                  <a:lnTo>
                    <a:pt x="709076" y="35381"/>
                  </a:lnTo>
                  <a:lnTo>
                    <a:pt x="759702" y="25016"/>
                  </a:lnTo>
                  <a:lnTo>
                    <a:pt x="810904" y="16270"/>
                  </a:lnTo>
                  <a:lnTo>
                    <a:pt x="862657" y="9168"/>
                  </a:lnTo>
                  <a:lnTo>
                    <a:pt x="914932" y="3735"/>
                  </a:lnTo>
                  <a:lnTo>
                    <a:pt x="967701" y="0"/>
                  </a:lnTo>
                  <a:lnTo>
                    <a:pt x="967701" y="877201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43" name="object 13">
              <a:extLst>
                <a:ext uri="{FF2B5EF4-FFF2-40B4-BE49-F238E27FC236}">
                  <a16:creationId xmlns:a16="http://schemas.microsoft.com/office/drawing/2014/main" id="{35C0B38A-FB7C-D44D-A531-57276BF23924}"/>
                </a:ext>
              </a:extLst>
            </p:cNvPr>
            <p:cNvSpPr/>
            <p:nvPr/>
          </p:nvSpPr>
          <p:spPr>
            <a:xfrm>
              <a:off x="1415569" y="6310663"/>
              <a:ext cx="213360" cy="264160"/>
            </a:xfrm>
            <a:custGeom>
              <a:avLst/>
              <a:gdLst/>
              <a:ahLst/>
              <a:cxnLst/>
              <a:rect l="l" t="t" r="r" b="b"/>
              <a:pathLst>
                <a:path w="213360" h="264159">
                  <a:moveTo>
                    <a:pt x="212852" y="248945"/>
                  </a:moveTo>
                  <a:lnTo>
                    <a:pt x="203318" y="252224"/>
                  </a:lnTo>
                  <a:lnTo>
                    <a:pt x="193860" y="255901"/>
                  </a:lnTo>
                  <a:lnTo>
                    <a:pt x="184528" y="259821"/>
                  </a:lnTo>
                  <a:lnTo>
                    <a:pt x="175374" y="263829"/>
                  </a:lnTo>
                  <a:lnTo>
                    <a:pt x="0" y="88684"/>
                  </a:lnTo>
                  <a:lnTo>
                    <a:pt x="38582" y="63238"/>
                  </a:lnTo>
                  <a:lnTo>
                    <a:pt x="79373" y="41662"/>
                  </a:lnTo>
                  <a:lnTo>
                    <a:pt x="122158" y="23941"/>
                  </a:lnTo>
                  <a:lnTo>
                    <a:pt x="166722" y="10059"/>
                  </a:lnTo>
                  <a:lnTo>
                    <a:pt x="212852" y="0"/>
                  </a:lnTo>
                  <a:lnTo>
                    <a:pt x="212852" y="248945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44" name="object 14">
              <a:extLst>
                <a:ext uri="{FF2B5EF4-FFF2-40B4-BE49-F238E27FC236}">
                  <a16:creationId xmlns:a16="http://schemas.microsoft.com/office/drawing/2014/main" id="{3D6A962F-62D0-3845-8ED4-88D349506858}"/>
                </a:ext>
              </a:extLst>
            </p:cNvPr>
            <p:cNvSpPr/>
            <p:nvPr/>
          </p:nvSpPr>
          <p:spPr>
            <a:xfrm>
              <a:off x="1415569" y="7068180"/>
              <a:ext cx="213360" cy="259079"/>
            </a:xfrm>
            <a:custGeom>
              <a:avLst/>
              <a:gdLst/>
              <a:ahLst/>
              <a:cxnLst/>
              <a:rect l="l" t="t" r="r" b="b"/>
              <a:pathLst>
                <a:path w="213360" h="259079">
                  <a:moveTo>
                    <a:pt x="212852" y="258724"/>
                  </a:moveTo>
                  <a:lnTo>
                    <a:pt x="166722" y="248362"/>
                  </a:lnTo>
                  <a:lnTo>
                    <a:pt x="122158" y="234143"/>
                  </a:lnTo>
                  <a:lnTo>
                    <a:pt x="79373" y="216222"/>
                  </a:lnTo>
                  <a:lnTo>
                    <a:pt x="38582" y="194752"/>
                  </a:lnTo>
                  <a:lnTo>
                    <a:pt x="0" y="169887"/>
                  </a:lnTo>
                  <a:lnTo>
                    <a:pt x="170116" y="0"/>
                  </a:lnTo>
                  <a:lnTo>
                    <a:pt x="180519" y="5207"/>
                  </a:lnTo>
                  <a:lnTo>
                    <a:pt x="191112" y="9829"/>
                  </a:lnTo>
                  <a:lnTo>
                    <a:pt x="201891" y="14023"/>
                  </a:lnTo>
                  <a:lnTo>
                    <a:pt x="212852" y="17945"/>
                  </a:lnTo>
                  <a:lnTo>
                    <a:pt x="212852" y="258724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45" name="object 15">
              <a:extLst>
                <a:ext uri="{FF2B5EF4-FFF2-40B4-BE49-F238E27FC236}">
                  <a16:creationId xmlns:a16="http://schemas.microsoft.com/office/drawing/2014/main" id="{350625BE-BDA5-EF4F-9A05-B91EEA86EF36}"/>
                </a:ext>
              </a:extLst>
            </p:cNvPr>
            <p:cNvSpPr/>
            <p:nvPr/>
          </p:nvSpPr>
          <p:spPr>
            <a:xfrm>
              <a:off x="1206388" y="6520378"/>
              <a:ext cx="262890" cy="213360"/>
            </a:xfrm>
            <a:custGeom>
              <a:avLst/>
              <a:gdLst/>
              <a:ahLst/>
              <a:cxnLst/>
              <a:rect l="l" t="t" r="r" b="b"/>
              <a:pathLst>
                <a:path w="262890" h="213359">
                  <a:moveTo>
                    <a:pt x="0" y="213233"/>
                  </a:moveTo>
                  <a:lnTo>
                    <a:pt x="9950" y="166524"/>
                  </a:lnTo>
                  <a:lnTo>
                    <a:pt x="23855" y="121607"/>
                  </a:lnTo>
                  <a:lnTo>
                    <a:pt x="41569" y="78722"/>
                  </a:lnTo>
                  <a:lnTo>
                    <a:pt x="62948" y="38107"/>
                  </a:lnTo>
                  <a:lnTo>
                    <a:pt x="87845" y="0"/>
                  </a:lnTo>
                  <a:lnTo>
                    <a:pt x="262305" y="174167"/>
                  </a:lnTo>
                  <a:lnTo>
                    <a:pt x="257583" y="183145"/>
                  </a:lnTo>
                  <a:lnTo>
                    <a:pt x="253147" y="192552"/>
                  </a:lnTo>
                  <a:lnTo>
                    <a:pt x="249166" y="202533"/>
                  </a:lnTo>
                  <a:lnTo>
                    <a:pt x="245808" y="213233"/>
                  </a:lnTo>
                  <a:lnTo>
                    <a:pt x="0" y="213233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46" name="object 16">
              <a:extLst>
                <a:ext uri="{FF2B5EF4-FFF2-40B4-BE49-F238E27FC236}">
                  <a16:creationId xmlns:a16="http://schemas.microsoft.com/office/drawing/2014/main" id="{13DCAE95-C40D-8042-9C16-CB056C688A4E}"/>
                </a:ext>
              </a:extLst>
            </p:cNvPr>
            <p:cNvSpPr/>
            <p:nvPr/>
          </p:nvSpPr>
          <p:spPr>
            <a:xfrm>
              <a:off x="1206388" y="6903499"/>
              <a:ext cx="259715" cy="214629"/>
            </a:xfrm>
            <a:custGeom>
              <a:avLst/>
              <a:gdLst/>
              <a:ahLst/>
              <a:cxnLst/>
              <a:rect l="l" t="t" r="r" b="b"/>
              <a:pathLst>
                <a:path w="259715" h="214629">
                  <a:moveTo>
                    <a:pt x="243154" y="0"/>
                  </a:moveTo>
                  <a:lnTo>
                    <a:pt x="246538" y="10948"/>
                  </a:lnTo>
                  <a:lnTo>
                    <a:pt x="250448" y="21572"/>
                  </a:lnTo>
                  <a:lnTo>
                    <a:pt x="254775" y="31998"/>
                  </a:lnTo>
                  <a:lnTo>
                    <a:pt x="259410" y="42354"/>
                  </a:lnTo>
                  <a:lnTo>
                    <a:pt x="87845" y="214299"/>
                  </a:lnTo>
                  <a:lnTo>
                    <a:pt x="62948" y="175708"/>
                  </a:lnTo>
                  <a:lnTo>
                    <a:pt x="41569" y="134795"/>
                  </a:lnTo>
                  <a:lnTo>
                    <a:pt x="23855" y="91748"/>
                  </a:lnTo>
                  <a:lnTo>
                    <a:pt x="9950" y="46754"/>
                  </a:lnTo>
                  <a:lnTo>
                    <a:pt x="0" y="0"/>
                  </a:lnTo>
                  <a:lnTo>
                    <a:pt x="243154" y="0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47" name="object 17">
              <a:extLst>
                <a:ext uri="{FF2B5EF4-FFF2-40B4-BE49-F238E27FC236}">
                  <a16:creationId xmlns:a16="http://schemas.microsoft.com/office/drawing/2014/main" id="{B6DA9976-F2D1-3D4F-9E43-8ACE9FC689D2}"/>
                </a:ext>
              </a:extLst>
            </p:cNvPr>
            <p:cNvSpPr/>
            <p:nvPr/>
          </p:nvSpPr>
          <p:spPr>
            <a:xfrm>
              <a:off x="1093307" y="7372078"/>
              <a:ext cx="535305" cy="188595"/>
            </a:xfrm>
            <a:custGeom>
              <a:avLst/>
              <a:gdLst/>
              <a:ahLst/>
              <a:cxnLst/>
              <a:rect l="l" t="t" r="r" b="b"/>
              <a:pathLst>
                <a:path w="535305" h="188595">
                  <a:moveTo>
                    <a:pt x="0" y="187977"/>
                  </a:moveTo>
                  <a:lnTo>
                    <a:pt x="187565" y="0"/>
                  </a:lnTo>
                  <a:lnTo>
                    <a:pt x="225450" y="27742"/>
                  </a:lnTo>
                  <a:lnTo>
                    <a:pt x="265180" y="52959"/>
                  </a:lnTo>
                  <a:lnTo>
                    <a:pt x="306627" y="75531"/>
                  </a:lnTo>
                  <a:lnTo>
                    <a:pt x="349662" y="95338"/>
                  </a:lnTo>
                  <a:lnTo>
                    <a:pt x="394157" y="112262"/>
                  </a:lnTo>
                  <a:lnTo>
                    <a:pt x="439983" y="126183"/>
                  </a:lnTo>
                  <a:lnTo>
                    <a:pt x="487011" y="136982"/>
                  </a:lnTo>
                  <a:lnTo>
                    <a:pt x="535113" y="144538"/>
                  </a:lnTo>
                  <a:lnTo>
                    <a:pt x="535113" y="187977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48" name="object 18">
              <a:extLst>
                <a:ext uri="{FF2B5EF4-FFF2-40B4-BE49-F238E27FC236}">
                  <a16:creationId xmlns:a16="http://schemas.microsoft.com/office/drawing/2014/main" id="{48EB563F-EEBF-1B4C-8DB6-B83ED615C7D9}"/>
                </a:ext>
              </a:extLst>
            </p:cNvPr>
            <p:cNvSpPr/>
            <p:nvPr/>
          </p:nvSpPr>
          <p:spPr>
            <a:xfrm>
              <a:off x="134597" y="6903499"/>
              <a:ext cx="1026160" cy="656590"/>
            </a:xfrm>
            <a:custGeom>
              <a:avLst/>
              <a:gdLst/>
              <a:ahLst/>
              <a:cxnLst/>
              <a:rect l="l" t="t" r="r" b="b"/>
              <a:pathLst>
                <a:path w="1026160" h="656590">
                  <a:moveTo>
                    <a:pt x="0" y="0"/>
                  </a:moveTo>
                  <a:lnTo>
                    <a:pt x="881151" y="0"/>
                  </a:lnTo>
                  <a:lnTo>
                    <a:pt x="888721" y="48441"/>
                  </a:lnTo>
                  <a:lnTo>
                    <a:pt x="899551" y="95612"/>
                  </a:lnTo>
                  <a:lnTo>
                    <a:pt x="913511" y="141430"/>
                  </a:lnTo>
                  <a:lnTo>
                    <a:pt x="930471" y="185812"/>
                  </a:lnTo>
                  <a:lnTo>
                    <a:pt x="950301" y="228673"/>
                  </a:lnTo>
                  <a:lnTo>
                    <a:pt x="972870" y="269931"/>
                  </a:lnTo>
                  <a:lnTo>
                    <a:pt x="998047" y="309504"/>
                  </a:lnTo>
                  <a:lnTo>
                    <a:pt x="1025702" y="347306"/>
                  </a:lnTo>
                  <a:lnTo>
                    <a:pt x="717130" y="656556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49" name="object 19">
              <a:extLst>
                <a:ext uri="{FF2B5EF4-FFF2-40B4-BE49-F238E27FC236}">
                  <a16:creationId xmlns:a16="http://schemas.microsoft.com/office/drawing/2014/main" id="{767D9516-9265-2842-B6F1-CF07623E1EE2}"/>
                </a:ext>
              </a:extLst>
            </p:cNvPr>
            <p:cNvSpPr/>
            <p:nvPr/>
          </p:nvSpPr>
          <p:spPr>
            <a:xfrm>
              <a:off x="134597" y="6903499"/>
              <a:ext cx="180975" cy="656590"/>
            </a:xfrm>
            <a:custGeom>
              <a:avLst/>
              <a:gdLst/>
              <a:ahLst/>
              <a:cxnLst/>
              <a:rect l="l" t="t" r="r" b="b"/>
              <a:pathLst>
                <a:path w="180975" h="656590">
                  <a:moveTo>
                    <a:pt x="180662" y="656556"/>
                  </a:moveTo>
                  <a:lnTo>
                    <a:pt x="159991" y="616181"/>
                  </a:lnTo>
                  <a:lnTo>
                    <a:pt x="139292" y="572511"/>
                  </a:lnTo>
                  <a:lnTo>
                    <a:pt x="119900" y="528132"/>
                  </a:lnTo>
                  <a:lnTo>
                    <a:pt x="101841" y="483068"/>
                  </a:lnTo>
                  <a:lnTo>
                    <a:pt x="85139" y="437342"/>
                  </a:lnTo>
                  <a:lnTo>
                    <a:pt x="69820" y="390978"/>
                  </a:lnTo>
                  <a:lnTo>
                    <a:pt x="55907" y="344001"/>
                  </a:lnTo>
                  <a:lnTo>
                    <a:pt x="43426" y="296435"/>
                  </a:lnTo>
                  <a:lnTo>
                    <a:pt x="32402" y="248303"/>
                  </a:lnTo>
                  <a:lnTo>
                    <a:pt x="22859" y="199630"/>
                  </a:lnTo>
                  <a:lnTo>
                    <a:pt x="14823" y="150439"/>
                  </a:lnTo>
                  <a:lnTo>
                    <a:pt x="8318" y="100754"/>
                  </a:lnTo>
                  <a:lnTo>
                    <a:pt x="3368" y="50600"/>
                  </a:lnTo>
                  <a:lnTo>
                    <a:pt x="0" y="0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50" name="object 20">
              <a:extLst>
                <a:ext uri="{FF2B5EF4-FFF2-40B4-BE49-F238E27FC236}">
                  <a16:creationId xmlns:a16="http://schemas.microsoft.com/office/drawing/2014/main" id="{B01C220D-6109-3440-BAB0-F31C00F9E4DC}"/>
                </a:ext>
              </a:extLst>
            </p:cNvPr>
            <p:cNvSpPr/>
            <p:nvPr/>
          </p:nvSpPr>
          <p:spPr>
            <a:xfrm>
              <a:off x="135130" y="5764995"/>
              <a:ext cx="1025525" cy="969010"/>
            </a:xfrm>
            <a:custGeom>
              <a:avLst/>
              <a:gdLst/>
              <a:ahLst/>
              <a:cxnLst/>
              <a:rect l="l" t="t" r="r" b="b"/>
              <a:pathLst>
                <a:path w="1025525" h="969009">
                  <a:moveTo>
                    <a:pt x="404101" y="0"/>
                  </a:moveTo>
                  <a:lnTo>
                    <a:pt x="1025169" y="620547"/>
                  </a:lnTo>
                  <a:lnTo>
                    <a:pt x="997513" y="658247"/>
                  </a:lnTo>
                  <a:lnTo>
                    <a:pt x="972336" y="697841"/>
                  </a:lnTo>
                  <a:lnTo>
                    <a:pt x="949768" y="739212"/>
                  </a:lnTo>
                  <a:lnTo>
                    <a:pt x="929938" y="782242"/>
                  </a:lnTo>
                  <a:lnTo>
                    <a:pt x="912978" y="826814"/>
                  </a:lnTo>
                  <a:lnTo>
                    <a:pt x="899017" y="872812"/>
                  </a:lnTo>
                  <a:lnTo>
                    <a:pt x="888187" y="920119"/>
                  </a:lnTo>
                  <a:lnTo>
                    <a:pt x="880618" y="968616"/>
                  </a:lnTo>
                  <a:lnTo>
                    <a:pt x="0" y="968616"/>
                  </a:lnTo>
                  <a:lnTo>
                    <a:pt x="3873" y="915779"/>
                  </a:lnTo>
                  <a:lnTo>
                    <a:pt x="9457" y="863434"/>
                  </a:lnTo>
                  <a:lnTo>
                    <a:pt x="16723" y="811608"/>
                  </a:lnTo>
                  <a:lnTo>
                    <a:pt x="25644" y="760331"/>
                  </a:lnTo>
                  <a:lnTo>
                    <a:pt x="36194" y="709631"/>
                  </a:lnTo>
                  <a:lnTo>
                    <a:pt x="48343" y="659535"/>
                  </a:lnTo>
                  <a:lnTo>
                    <a:pt x="62066" y="610074"/>
                  </a:lnTo>
                  <a:lnTo>
                    <a:pt x="77335" y="561274"/>
                  </a:lnTo>
                  <a:lnTo>
                    <a:pt x="94123" y="513164"/>
                  </a:lnTo>
                  <a:lnTo>
                    <a:pt x="112402" y="465772"/>
                  </a:lnTo>
                  <a:lnTo>
                    <a:pt x="132145" y="419128"/>
                  </a:lnTo>
                  <a:lnTo>
                    <a:pt x="153326" y="373258"/>
                  </a:lnTo>
                  <a:lnTo>
                    <a:pt x="175915" y="328193"/>
                  </a:lnTo>
                  <a:lnTo>
                    <a:pt x="199887" y="283959"/>
                  </a:lnTo>
                  <a:lnTo>
                    <a:pt x="225214" y="240585"/>
                  </a:lnTo>
                  <a:lnTo>
                    <a:pt x="251869" y="198101"/>
                  </a:lnTo>
                  <a:lnTo>
                    <a:pt x="279823" y="156533"/>
                  </a:lnTo>
                  <a:lnTo>
                    <a:pt x="309051" y="115910"/>
                  </a:lnTo>
                  <a:lnTo>
                    <a:pt x="339525" y="76262"/>
                  </a:lnTo>
                  <a:lnTo>
                    <a:pt x="371217" y="37615"/>
                  </a:lnTo>
                  <a:lnTo>
                    <a:pt x="404101" y="0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51" name="object 21">
              <a:extLst>
                <a:ext uri="{FF2B5EF4-FFF2-40B4-BE49-F238E27FC236}">
                  <a16:creationId xmlns:a16="http://schemas.microsoft.com/office/drawing/2014/main" id="{DAFB83A4-3D0B-F048-9596-8DB494674E24}"/>
                </a:ext>
              </a:extLst>
            </p:cNvPr>
            <p:cNvSpPr/>
            <p:nvPr/>
          </p:nvSpPr>
          <p:spPr>
            <a:xfrm>
              <a:off x="13855" y="3999377"/>
              <a:ext cx="3830954" cy="2734310"/>
            </a:xfrm>
            <a:custGeom>
              <a:avLst/>
              <a:gdLst/>
              <a:ahLst/>
              <a:cxnLst/>
              <a:rect l="l" t="t" r="r" b="b"/>
              <a:pathLst>
                <a:path w="3830954" h="2734309">
                  <a:moveTo>
                    <a:pt x="3830576" y="2734233"/>
                  </a:moveTo>
                  <a:lnTo>
                    <a:pt x="3709227" y="2734233"/>
                  </a:lnTo>
                  <a:lnTo>
                    <a:pt x="3706251" y="2681958"/>
                  </a:lnTo>
                  <a:lnTo>
                    <a:pt x="3701946" y="2630037"/>
                  </a:lnTo>
                  <a:lnTo>
                    <a:pt x="3696329" y="2578486"/>
                  </a:lnTo>
                  <a:lnTo>
                    <a:pt x="3689418" y="2527325"/>
                  </a:lnTo>
                  <a:lnTo>
                    <a:pt x="3681228" y="2476569"/>
                  </a:lnTo>
                  <a:lnTo>
                    <a:pt x="3671777" y="2426237"/>
                  </a:lnTo>
                  <a:lnTo>
                    <a:pt x="3661082" y="2376346"/>
                  </a:lnTo>
                  <a:lnTo>
                    <a:pt x="3649160" y="2326914"/>
                  </a:lnTo>
                  <a:lnTo>
                    <a:pt x="3636027" y="2277958"/>
                  </a:lnTo>
                  <a:lnTo>
                    <a:pt x="3621700" y="2229496"/>
                  </a:lnTo>
                  <a:lnTo>
                    <a:pt x="3606197" y="2181544"/>
                  </a:lnTo>
                  <a:lnTo>
                    <a:pt x="3589534" y="2134122"/>
                  </a:lnTo>
                  <a:lnTo>
                    <a:pt x="3571729" y="2087245"/>
                  </a:lnTo>
                  <a:lnTo>
                    <a:pt x="3552797" y="2040932"/>
                  </a:lnTo>
                  <a:lnTo>
                    <a:pt x="3532756" y="1995201"/>
                  </a:lnTo>
                  <a:lnTo>
                    <a:pt x="3511623" y="1950068"/>
                  </a:lnTo>
                  <a:lnTo>
                    <a:pt x="3489414" y="1905551"/>
                  </a:lnTo>
                  <a:lnTo>
                    <a:pt x="3466147" y="1861668"/>
                  </a:lnTo>
                  <a:lnTo>
                    <a:pt x="3441839" y="1818436"/>
                  </a:lnTo>
                  <a:lnTo>
                    <a:pt x="3416505" y="1775873"/>
                  </a:lnTo>
                  <a:lnTo>
                    <a:pt x="3390164" y="1733996"/>
                  </a:lnTo>
                  <a:lnTo>
                    <a:pt x="3362832" y="1692822"/>
                  </a:lnTo>
                  <a:lnTo>
                    <a:pt x="3334526" y="1652370"/>
                  </a:lnTo>
                  <a:lnTo>
                    <a:pt x="3305263" y="1612657"/>
                  </a:lnTo>
                  <a:lnTo>
                    <a:pt x="3275060" y="1573700"/>
                  </a:lnTo>
                  <a:lnTo>
                    <a:pt x="3243933" y="1535517"/>
                  </a:lnTo>
                  <a:lnTo>
                    <a:pt x="3211900" y="1498124"/>
                  </a:lnTo>
                  <a:lnTo>
                    <a:pt x="3178977" y="1461541"/>
                  </a:lnTo>
                  <a:lnTo>
                    <a:pt x="3265528" y="1374876"/>
                  </a:lnTo>
                  <a:lnTo>
                    <a:pt x="3308299" y="1365968"/>
                  </a:lnTo>
                  <a:lnTo>
                    <a:pt x="3354137" y="1350761"/>
                  </a:lnTo>
                  <a:lnTo>
                    <a:pt x="3401672" y="1330230"/>
                  </a:lnTo>
                  <a:lnTo>
                    <a:pt x="3449536" y="1305350"/>
                  </a:lnTo>
                  <a:lnTo>
                    <a:pt x="3496359" y="1277096"/>
                  </a:lnTo>
                  <a:lnTo>
                    <a:pt x="3540771" y="1246442"/>
                  </a:lnTo>
                  <a:lnTo>
                    <a:pt x="3581403" y="1214364"/>
                  </a:lnTo>
                  <a:lnTo>
                    <a:pt x="3616886" y="1181836"/>
                  </a:lnTo>
                  <a:lnTo>
                    <a:pt x="3653604" y="1140770"/>
                  </a:lnTo>
                  <a:lnTo>
                    <a:pt x="3683790" y="1097671"/>
                  </a:lnTo>
                  <a:lnTo>
                    <a:pt x="3707224" y="1053565"/>
                  </a:lnTo>
                  <a:lnTo>
                    <a:pt x="3723688" y="1009474"/>
                  </a:lnTo>
                  <a:lnTo>
                    <a:pt x="3732964" y="966423"/>
                  </a:lnTo>
                  <a:lnTo>
                    <a:pt x="3734832" y="925437"/>
                  </a:lnTo>
                  <a:lnTo>
                    <a:pt x="3729075" y="887539"/>
                  </a:lnTo>
                  <a:lnTo>
                    <a:pt x="3693810" y="825106"/>
                  </a:lnTo>
                  <a:lnTo>
                    <a:pt x="3631660" y="790129"/>
                  </a:lnTo>
                  <a:lnTo>
                    <a:pt x="3593934" y="784501"/>
                  </a:lnTo>
                  <a:lnTo>
                    <a:pt x="3553106" y="786499"/>
                  </a:lnTo>
                  <a:lnTo>
                    <a:pt x="3510177" y="795912"/>
                  </a:lnTo>
                  <a:lnTo>
                    <a:pt x="3466144" y="812527"/>
                  </a:lnTo>
                  <a:lnTo>
                    <a:pt x="3422008" y="836134"/>
                  </a:lnTo>
                  <a:lnTo>
                    <a:pt x="3378767" y="866521"/>
                  </a:lnTo>
                  <a:lnTo>
                    <a:pt x="3337422" y="903478"/>
                  </a:lnTo>
                  <a:lnTo>
                    <a:pt x="3305359" y="938158"/>
                  </a:lnTo>
                  <a:lnTo>
                    <a:pt x="3273826" y="978128"/>
                  </a:lnTo>
                  <a:lnTo>
                    <a:pt x="3243724" y="1022025"/>
                  </a:lnTo>
                  <a:lnTo>
                    <a:pt x="3215955" y="1068484"/>
                  </a:lnTo>
                  <a:lnTo>
                    <a:pt x="3191420" y="1116141"/>
                  </a:lnTo>
                  <a:lnTo>
                    <a:pt x="3171021" y="1163633"/>
                  </a:lnTo>
                  <a:lnTo>
                    <a:pt x="3155659" y="1209595"/>
                  </a:lnTo>
                  <a:lnTo>
                    <a:pt x="3146236" y="1252664"/>
                  </a:lnTo>
                  <a:lnTo>
                    <a:pt x="3057946" y="1340154"/>
                  </a:lnTo>
                  <a:lnTo>
                    <a:pt x="3021258" y="1307461"/>
                  </a:lnTo>
                  <a:lnTo>
                    <a:pt x="2983780" y="1275650"/>
                  </a:lnTo>
                  <a:lnTo>
                    <a:pt x="2945531" y="1244737"/>
                  </a:lnTo>
                  <a:lnTo>
                    <a:pt x="2906526" y="1214739"/>
                  </a:lnTo>
                  <a:lnTo>
                    <a:pt x="2866781" y="1185673"/>
                  </a:lnTo>
                  <a:lnTo>
                    <a:pt x="2826313" y="1157557"/>
                  </a:lnTo>
                  <a:lnTo>
                    <a:pt x="2785138" y="1130408"/>
                  </a:lnTo>
                  <a:lnTo>
                    <a:pt x="2743272" y="1104242"/>
                  </a:lnTo>
                  <a:lnTo>
                    <a:pt x="2700732" y="1079076"/>
                  </a:lnTo>
                  <a:lnTo>
                    <a:pt x="2657533" y="1054928"/>
                  </a:lnTo>
                  <a:lnTo>
                    <a:pt x="2613693" y="1031814"/>
                  </a:lnTo>
                  <a:lnTo>
                    <a:pt x="2569227" y="1009752"/>
                  </a:lnTo>
                  <a:lnTo>
                    <a:pt x="2524152" y="988759"/>
                  </a:lnTo>
                  <a:lnTo>
                    <a:pt x="2478483" y="968851"/>
                  </a:lnTo>
                  <a:lnTo>
                    <a:pt x="2432238" y="950045"/>
                  </a:lnTo>
                  <a:lnTo>
                    <a:pt x="2385432" y="932359"/>
                  </a:lnTo>
                  <a:lnTo>
                    <a:pt x="2338083" y="915810"/>
                  </a:lnTo>
                  <a:lnTo>
                    <a:pt x="2290205" y="900415"/>
                  </a:lnTo>
                  <a:lnTo>
                    <a:pt x="2241816" y="886190"/>
                  </a:lnTo>
                  <a:lnTo>
                    <a:pt x="2192931" y="873152"/>
                  </a:lnTo>
                  <a:lnTo>
                    <a:pt x="2143567" y="861319"/>
                  </a:lnTo>
                  <a:lnTo>
                    <a:pt x="2093741" y="850708"/>
                  </a:lnTo>
                  <a:lnTo>
                    <a:pt x="2043468" y="841336"/>
                  </a:lnTo>
                  <a:lnTo>
                    <a:pt x="1992765" y="833219"/>
                  </a:lnTo>
                  <a:lnTo>
                    <a:pt x="1941649" y="826376"/>
                  </a:lnTo>
                  <a:lnTo>
                    <a:pt x="1890134" y="820821"/>
                  </a:lnTo>
                  <a:lnTo>
                    <a:pt x="1838238" y="816574"/>
                  </a:lnTo>
                  <a:lnTo>
                    <a:pt x="1785978" y="813650"/>
                  </a:lnTo>
                  <a:lnTo>
                    <a:pt x="1785978" y="691083"/>
                  </a:lnTo>
                  <a:lnTo>
                    <a:pt x="1809737" y="654408"/>
                  </a:lnTo>
                  <a:lnTo>
                    <a:pt x="1831257" y="611159"/>
                  </a:lnTo>
                  <a:lnTo>
                    <a:pt x="1850250" y="562986"/>
                  </a:lnTo>
                  <a:lnTo>
                    <a:pt x="1866432" y="511540"/>
                  </a:lnTo>
                  <a:lnTo>
                    <a:pt x="1879516" y="458471"/>
                  </a:lnTo>
                  <a:lnTo>
                    <a:pt x="1889215" y="405429"/>
                  </a:lnTo>
                  <a:lnTo>
                    <a:pt x="1895245" y="354066"/>
                  </a:lnTo>
                  <a:lnTo>
                    <a:pt x="1897318" y="306031"/>
                  </a:lnTo>
                  <a:lnTo>
                    <a:pt x="1894141" y="251047"/>
                  </a:lnTo>
                  <a:lnTo>
                    <a:pt x="1884980" y="199285"/>
                  </a:lnTo>
                  <a:lnTo>
                    <a:pt x="1870394" y="151613"/>
                  </a:lnTo>
                  <a:lnTo>
                    <a:pt x="1850941" y="108898"/>
                  </a:lnTo>
                  <a:lnTo>
                    <a:pt x="1827178" y="72005"/>
                  </a:lnTo>
                  <a:lnTo>
                    <a:pt x="1799664" y="41803"/>
                  </a:lnTo>
                  <a:lnTo>
                    <a:pt x="1768956" y="19156"/>
                  </a:lnTo>
                  <a:lnTo>
                    <a:pt x="1700189" y="0"/>
                  </a:lnTo>
                  <a:lnTo>
                    <a:pt x="1664789" y="4933"/>
                  </a:lnTo>
                  <a:lnTo>
                    <a:pt x="1600644" y="41803"/>
                  </a:lnTo>
                  <a:lnTo>
                    <a:pt x="1573040" y="72005"/>
                  </a:lnTo>
                  <a:lnTo>
                    <a:pt x="1549176" y="108898"/>
                  </a:lnTo>
                  <a:lnTo>
                    <a:pt x="1529622" y="151613"/>
                  </a:lnTo>
                  <a:lnTo>
                    <a:pt x="1514949" y="199285"/>
                  </a:lnTo>
                  <a:lnTo>
                    <a:pt x="1505727" y="251047"/>
                  </a:lnTo>
                  <a:lnTo>
                    <a:pt x="1502526" y="306031"/>
                  </a:lnTo>
                  <a:lnTo>
                    <a:pt x="1504630" y="353786"/>
                  </a:lnTo>
                  <a:lnTo>
                    <a:pt x="1510738" y="404761"/>
                  </a:lnTo>
                  <a:lnTo>
                    <a:pt x="1520550" y="457367"/>
                  </a:lnTo>
                  <a:lnTo>
                    <a:pt x="1533762" y="510016"/>
                  </a:lnTo>
                  <a:lnTo>
                    <a:pt x="1550072" y="561117"/>
                  </a:lnTo>
                  <a:lnTo>
                    <a:pt x="1569177" y="609084"/>
                  </a:lnTo>
                  <a:lnTo>
                    <a:pt x="1590776" y="652325"/>
                  </a:lnTo>
                  <a:lnTo>
                    <a:pt x="1614566" y="689254"/>
                  </a:lnTo>
                  <a:lnTo>
                    <a:pt x="1614566" y="813650"/>
                  </a:lnTo>
                  <a:lnTo>
                    <a:pt x="1562305" y="816574"/>
                  </a:lnTo>
                  <a:lnTo>
                    <a:pt x="1510408" y="820821"/>
                  </a:lnTo>
                  <a:lnTo>
                    <a:pt x="1458892" y="826376"/>
                  </a:lnTo>
                  <a:lnTo>
                    <a:pt x="1407774" y="833219"/>
                  </a:lnTo>
                  <a:lnTo>
                    <a:pt x="1357069" y="841336"/>
                  </a:lnTo>
                  <a:lnTo>
                    <a:pt x="1306795" y="850708"/>
                  </a:lnTo>
                  <a:lnTo>
                    <a:pt x="1256966" y="861319"/>
                  </a:lnTo>
                  <a:lnTo>
                    <a:pt x="1207601" y="873152"/>
                  </a:lnTo>
                  <a:lnTo>
                    <a:pt x="1158714" y="886190"/>
                  </a:lnTo>
                  <a:lnTo>
                    <a:pt x="1110323" y="900415"/>
                  </a:lnTo>
                  <a:lnTo>
                    <a:pt x="1062444" y="915810"/>
                  </a:lnTo>
                  <a:lnTo>
                    <a:pt x="1015093" y="932359"/>
                  </a:lnTo>
                  <a:lnTo>
                    <a:pt x="968286" y="950045"/>
                  </a:lnTo>
                  <a:lnTo>
                    <a:pt x="922041" y="968851"/>
                  </a:lnTo>
                  <a:lnTo>
                    <a:pt x="876373" y="988759"/>
                  </a:lnTo>
                  <a:lnTo>
                    <a:pt x="831299" y="1009752"/>
                  </a:lnTo>
                  <a:lnTo>
                    <a:pt x="786834" y="1031814"/>
                  </a:lnTo>
                  <a:lnTo>
                    <a:pt x="742996" y="1054928"/>
                  </a:lnTo>
                  <a:lnTo>
                    <a:pt x="699801" y="1079076"/>
                  </a:lnTo>
                  <a:lnTo>
                    <a:pt x="657265" y="1104242"/>
                  </a:lnTo>
                  <a:lnTo>
                    <a:pt x="615405" y="1130408"/>
                  </a:lnTo>
                  <a:lnTo>
                    <a:pt x="574237" y="1157557"/>
                  </a:lnTo>
                  <a:lnTo>
                    <a:pt x="533777" y="1185673"/>
                  </a:lnTo>
                  <a:lnTo>
                    <a:pt x="494041" y="1214739"/>
                  </a:lnTo>
                  <a:lnTo>
                    <a:pt x="455047" y="1244737"/>
                  </a:lnTo>
                  <a:lnTo>
                    <a:pt x="416810" y="1275650"/>
                  </a:lnTo>
                  <a:lnTo>
                    <a:pt x="379346" y="1307461"/>
                  </a:lnTo>
                  <a:lnTo>
                    <a:pt x="342673" y="1340154"/>
                  </a:lnTo>
                  <a:lnTo>
                    <a:pt x="256504" y="1253731"/>
                  </a:lnTo>
                  <a:lnTo>
                    <a:pt x="247298" y="1210940"/>
                  </a:lnTo>
                  <a:lnTo>
                    <a:pt x="231883" y="1165107"/>
                  </a:lnTo>
                  <a:lnTo>
                    <a:pt x="211218" y="1117611"/>
                  </a:lnTo>
                  <a:lnTo>
                    <a:pt x="186263" y="1069832"/>
                  </a:lnTo>
                  <a:lnTo>
                    <a:pt x="157979" y="1023149"/>
                  </a:lnTo>
                  <a:lnTo>
                    <a:pt x="127323" y="978943"/>
                  </a:lnTo>
                  <a:lnTo>
                    <a:pt x="95257" y="938592"/>
                  </a:lnTo>
                  <a:lnTo>
                    <a:pt x="62740" y="903478"/>
                  </a:lnTo>
                  <a:lnTo>
                    <a:pt x="21601" y="866521"/>
                  </a:lnTo>
                  <a:lnTo>
                    <a:pt x="0" y="851297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52" name="object 22">
              <a:extLst>
                <a:ext uri="{FF2B5EF4-FFF2-40B4-BE49-F238E27FC236}">
                  <a16:creationId xmlns:a16="http://schemas.microsoft.com/office/drawing/2014/main" id="{89CEC62F-D7B5-D242-B727-151BEF04FD83}"/>
                </a:ext>
              </a:extLst>
            </p:cNvPr>
            <p:cNvSpPr/>
            <p:nvPr/>
          </p:nvSpPr>
          <p:spPr>
            <a:xfrm>
              <a:off x="13855" y="5328701"/>
              <a:ext cx="221615" cy="421005"/>
            </a:xfrm>
            <a:custGeom>
              <a:avLst/>
              <a:gdLst/>
              <a:ahLst/>
              <a:cxnLst/>
              <a:rect l="l" t="t" r="r" b="b"/>
              <a:pathLst>
                <a:path w="221615" h="421004">
                  <a:moveTo>
                    <a:pt x="0" y="0"/>
                  </a:moveTo>
                  <a:lnTo>
                    <a:pt x="44535" y="19088"/>
                  </a:lnTo>
                  <a:lnTo>
                    <a:pt x="90486" y="34336"/>
                  </a:lnTo>
                  <a:lnTo>
                    <a:pt x="133581" y="43571"/>
                  </a:lnTo>
                  <a:lnTo>
                    <a:pt x="221553" y="132217"/>
                  </a:lnTo>
                  <a:lnTo>
                    <a:pt x="188578" y="168800"/>
                  </a:lnTo>
                  <a:lnTo>
                    <a:pt x="156500" y="206192"/>
                  </a:lnTo>
                  <a:lnTo>
                    <a:pt x="125335" y="244376"/>
                  </a:lnTo>
                  <a:lnTo>
                    <a:pt x="95099" y="283333"/>
                  </a:lnTo>
                  <a:lnTo>
                    <a:pt x="65809" y="323046"/>
                  </a:lnTo>
                  <a:lnTo>
                    <a:pt x="37482" y="363498"/>
                  </a:lnTo>
                  <a:lnTo>
                    <a:pt x="10133" y="404672"/>
                  </a:lnTo>
                  <a:lnTo>
                    <a:pt x="0" y="420775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53" name="object 23">
              <a:extLst>
                <a:ext uri="{FF2B5EF4-FFF2-40B4-BE49-F238E27FC236}">
                  <a16:creationId xmlns:a16="http://schemas.microsoft.com/office/drawing/2014/main" id="{7AF02738-43B7-A24E-B8E4-0B94CA521398}"/>
                </a:ext>
              </a:extLst>
            </p:cNvPr>
            <p:cNvSpPr/>
            <p:nvPr/>
          </p:nvSpPr>
          <p:spPr>
            <a:xfrm>
              <a:off x="3584901" y="6621736"/>
              <a:ext cx="948690" cy="938530"/>
            </a:xfrm>
            <a:custGeom>
              <a:avLst/>
              <a:gdLst/>
              <a:ahLst/>
              <a:cxnLst/>
              <a:rect l="l" t="t" r="r" b="b"/>
              <a:pathLst>
                <a:path w="948689" h="938529">
                  <a:moveTo>
                    <a:pt x="0" y="938319"/>
                  </a:moveTo>
                  <a:lnTo>
                    <a:pt x="20914" y="883321"/>
                  </a:lnTo>
                  <a:lnTo>
                    <a:pt x="37449" y="835763"/>
                  </a:lnTo>
                  <a:lnTo>
                    <a:pt x="52820" y="787681"/>
                  </a:lnTo>
                  <a:lnTo>
                    <a:pt x="67010" y="739091"/>
                  </a:lnTo>
                  <a:lnTo>
                    <a:pt x="80003" y="690011"/>
                  </a:lnTo>
                  <a:lnTo>
                    <a:pt x="91783" y="640457"/>
                  </a:lnTo>
                  <a:lnTo>
                    <a:pt x="102333" y="590446"/>
                  </a:lnTo>
                  <a:lnTo>
                    <a:pt x="111635" y="539996"/>
                  </a:lnTo>
                  <a:lnTo>
                    <a:pt x="119675" y="489125"/>
                  </a:lnTo>
                  <a:lnTo>
                    <a:pt x="126434" y="437848"/>
                  </a:lnTo>
                  <a:lnTo>
                    <a:pt x="131897" y="386184"/>
                  </a:lnTo>
                  <a:lnTo>
                    <a:pt x="136047" y="334150"/>
                  </a:lnTo>
                  <a:lnTo>
                    <a:pt x="138868" y="281762"/>
                  </a:lnTo>
                  <a:lnTo>
                    <a:pt x="256698" y="281762"/>
                  </a:lnTo>
                  <a:lnTo>
                    <a:pt x="293622" y="306078"/>
                  </a:lnTo>
                  <a:lnTo>
                    <a:pt x="337022" y="328022"/>
                  </a:lnTo>
                  <a:lnTo>
                    <a:pt x="385269" y="347326"/>
                  </a:lnTo>
                  <a:lnTo>
                    <a:pt x="436733" y="363721"/>
                  </a:lnTo>
                  <a:lnTo>
                    <a:pt x="489786" y="376940"/>
                  </a:lnTo>
                  <a:lnTo>
                    <a:pt x="542798" y="386714"/>
                  </a:lnTo>
                  <a:lnTo>
                    <a:pt x="594140" y="392775"/>
                  </a:lnTo>
                  <a:lnTo>
                    <a:pt x="642181" y="394855"/>
                  </a:lnTo>
                  <a:lnTo>
                    <a:pt x="697330" y="391662"/>
                  </a:lnTo>
                  <a:lnTo>
                    <a:pt x="749202" y="382459"/>
                  </a:lnTo>
                  <a:lnTo>
                    <a:pt x="796938" y="367810"/>
                  </a:lnTo>
                  <a:lnTo>
                    <a:pt x="839682" y="348282"/>
                  </a:lnTo>
                  <a:lnTo>
                    <a:pt x="876577" y="324438"/>
                  </a:lnTo>
                  <a:lnTo>
                    <a:pt x="906765" y="296843"/>
                  </a:lnTo>
                  <a:lnTo>
                    <a:pt x="929390" y="266063"/>
                  </a:lnTo>
                  <a:lnTo>
                    <a:pt x="948518" y="197205"/>
                  </a:lnTo>
                  <a:lnTo>
                    <a:pt x="943593" y="161556"/>
                  </a:lnTo>
                  <a:lnTo>
                    <a:pt x="906765" y="97332"/>
                  </a:lnTo>
                  <a:lnTo>
                    <a:pt x="876577" y="69834"/>
                  </a:lnTo>
                  <a:lnTo>
                    <a:pt x="839682" y="46128"/>
                  </a:lnTo>
                  <a:lnTo>
                    <a:pt x="796938" y="26754"/>
                  </a:lnTo>
                  <a:lnTo>
                    <a:pt x="749202" y="12249"/>
                  </a:lnTo>
                  <a:lnTo>
                    <a:pt x="697330" y="3152"/>
                  </a:lnTo>
                  <a:lnTo>
                    <a:pt x="642181" y="0"/>
                  </a:lnTo>
                  <a:lnTo>
                    <a:pt x="594736" y="2090"/>
                  </a:lnTo>
                  <a:lnTo>
                    <a:pt x="544010" y="8164"/>
                  </a:lnTo>
                  <a:lnTo>
                    <a:pt x="491590" y="17931"/>
                  </a:lnTo>
                  <a:lnTo>
                    <a:pt x="439059" y="31095"/>
                  </a:lnTo>
                  <a:lnTo>
                    <a:pt x="388003" y="47365"/>
                  </a:lnTo>
                  <a:lnTo>
                    <a:pt x="340006" y="66447"/>
                  </a:lnTo>
                  <a:lnTo>
                    <a:pt x="296653" y="88048"/>
                  </a:lnTo>
                  <a:lnTo>
                    <a:pt x="259530" y="111874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</p:grpSp>
      <p:sp>
        <p:nvSpPr>
          <p:cNvPr id="55" name="object 3">
            <a:extLst>
              <a:ext uri="{FF2B5EF4-FFF2-40B4-BE49-F238E27FC236}">
                <a16:creationId xmlns:a16="http://schemas.microsoft.com/office/drawing/2014/main" id="{A78500C0-6136-7444-A0FA-BBED1C32890F}"/>
              </a:ext>
            </a:extLst>
          </p:cNvPr>
          <p:cNvSpPr/>
          <p:nvPr userDrawn="1"/>
        </p:nvSpPr>
        <p:spPr>
          <a:xfrm>
            <a:off x="0" y="6475830"/>
            <a:ext cx="8836500" cy="94247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11925" b="23841"/>
            </a:stretch>
          </a:blipFill>
        </p:spPr>
        <p:txBody>
          <a:bodyPr wrap="square" lIns="0" tIns="0" rIns="0" bIns="0" rtlCol="0"/>
          <a:lstStyle/>
          <a:p>
            <a:endParaRPr sz="1985" dirty="0">
              <a:solidFill>
                <a:srgbClr val="004987"/>
              </a:solidFill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298006A6-7CDD-4EA7-B864-67F8C1A5B6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0205" y="2523369"/>
            <a:ext cx="7826513" cy="1302491"/>
          </a:xfrm>
          <a:noFill/>
        </p:spPr>
        <p:txBody>
          <a:bodyPr anchor="b">
            <a:noAutofit/>
          </a:bodyPr>
          <a:lstStyle>
            <a:lvl1pPr algn="l">
              <a:defRPr sz="463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0862D5E4-ECB0-4D01-B55E-E29C934EDCF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70205" y="3931380"/>
            <a:ext cx="7826513" cy="2236902"/>
          </a:xfr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accent2"/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047080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103119-C141-E54F-8762-5B4BF24910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529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391172-20E0-574C-BD92-6BBB360B09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4" name="Группа 38">
            <a:extLst>
              <a:ext uri="{FF2B5EF4-FFF2-40B4-BE49-F238E27FC236}">
                <a16:creationId xmlns:a16="http://schemas.microsoft.com/office/drawing/2014/main" id="{68FE7C23-A43A-CF43-83BF-9D6EED3B3C3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789291" y="0"/>
            <a:ext cx="3655247" cy="3579799"/>
            <a:chOff x="8433710" y="8224"/>
            <a:chExt cx="2258292" cy="2211591"/>
          </a:xfrm>
        </p:grpSpPr>
        <p:sp>
          <p:nvSpPr>
            <p:cNvPr id="5" name="object 18">
              <a:extLst>
                <a:ext uri="{FF2B5EF4-FFF2-40B4-BE49-F238E27FC236}">
                  <a16:creationId xmlns:a16="http://schemas.microsoft.com/office/drawing/2014/main" id="{4900FFF9-0728-5B4B-91FB-246D9F19325A}"/>
                </a:ext>
              </a:extLst>
            </p:cNvPr>
            <p:cNvSpPr/>
            <p:nvPr userDrawn="1"/>
          </p:nvSpPr>
          <p:spPr>
            <a:xfrm>
              <a:off x="8841302" y="8224"/>
              <a:ext cx="1850700" cy="1879600"/>
            </a:xfrm>
            <a:prstGeom prst="rect">
              <a:avLst/>
            </a:prstGeom>
            <a:blipFill dpi="0" rotWithShape="1">
              <a:blip r:embed="rId2" cstate="print"/>
              <a:srcRect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6" name="object 19">
              <a:extLst>
                <a:ext uri="{FF2B5EF4-FFF2-40B4-BE49-F238E27FC236}">
                  <a16:creationId xmlns:a16="http://schemas.microsoft.com/office/drawing/2014/main" id="{C61BBA56-B8D3-914E-BD11-93B0A901480A}"/>
                </a:ext>
              </a:extLst>
            </p:cNvPr>
            <p:cNvSpPr/>
            <p:nvPr userDrawn="1"/>
          </p:nvSpPr>
          <p:spPr>
            <a:xfrm>
              <a:off x="9876950" y="1995025"/>
              <a:ext cx="269240" cy="224790"/>
            </a:xfrm>
            <a:custGeom>
              <a:avLst/>
              <a:gdLst/>
              <a:ahLst/>
              <a:cxnLst/>
              <a:rect l="l" t="t" r="r" b="b"/>
              <a:pathLst>
                <a:path w="269240" h="224789">
                  <a:moveTo>
                    <a:pt x="99948" y="154305"/>
                  </a:moveTo>
                  <a:lnTo>
                    <a:pt x="0" y="154305"/>
                  </a:lnTo>
                  <a:lnTo>
                    <a:pt x="714" y="165343"/>
                  </a:lnTo>
                  <a:lnTo>
                    <a:pt x="25514" y="203519"/>
                  </a:lnTo>
                  <a:lnTo>
                    <a:pt x="63358" y="218921"/>
                  </a:lnTo>
                  <a:lnTo>
                    <a:pt x="109940" y="224169"/>
                  </a:lnTo>
                  <a:lnTo>
                    <a:pt x="133718" y="224764"/>
                  </a:lnTo>
                  <a:lnTo>
                    <a:pt x="166380" y="223658"/>
                  </a:lnTo>
                  <a:lnTo>
                    <a:pt x="217723" y="214563"/>
                  </a:lnTo>
                  <a:lnTo>
                    <a:pt x="260638" y="183154"/>
                  </a:lnTo>
                  <a:lnTo>
                    <a:pt x="264376" y="173545"/>
                  </a:lnTo>
                  <a:lnTo>
                    <a:pt x="136982" y="173545"/>
                  </a:lnTo>
                  <a:lnTo>
                    <a:pt x="127975" y="173296"/>
                  </a:lnTo>
                  <a:lnTo>
                    <a:pt x="100279" y="161086"/>
                  </a:lnTo>
                  <a:lnTo>
                    <a:pt x="99948" y="154305"/>
                  </a:lnTo>
                  <a:close/>
                </a:path>
                <a:path w="269240" h="224789">
                  <a:moveTo>
                    <a:pt x="124371" y="0"/>
                  </a:moveTo>
                  <a:lnTo>
                    <a:pt x="76619" y="3175"/>
                  </a:lnTo>
                  <a:lnTo>
                    <a:pt x="37909" y="13817"/>
                  </a:lnTo>
                  <a:lnTo>
                    <a:pt x="8183" y="42675"/>
                  </a:lnTo>
                  <a:lnTo>
                    <a:pt x="2755" y="76530"/>
                  </a:lnTo>
                  <a:lnTo>
                    <a:pt x="3962" y="83858"/>
                  </a:lnTo>
                  <a:lnTo>
                    <a:pt x="6146" y="90017"/>
                  </a:lnTo>
                  <a:lnTo>
                    <a:pt x="8064" y="96608"/>
                  </a:lnTo>
                  <a:lnTo>
                    <a:pt x="39744" y="123062"/>
                  </a:lnTo>
                  <a:lnTo>
                    <a:pt x="160705" y="143573"/>
                  </a:lnTo>
                  <a:lnTo>
                    <a:pt x="164668" y="145389"/>
                  </a:lnTo>
                  <a:lnTo>
                    <a:pt x="166852" y="148005"/>
                  </a:lnTo>
                  <a:lnTo>
                    <a:pt x="169062" y="150431"/>
                  </a:lnTo>
                  <a:lnTo>
                    <a:pt x="169900" y="153606"/>
                  </a:lnTo>
                  <a:lnTo>
                    <a:pt x="169900" y="161823"/>
                  </a:lnTo>
                  <a:lnTo>
                    <a:pt x="167843" y="165849"/>
                  </a:lnTo>
                  <a:lnTo>
                    <a:pt x="136982" y="173545"/>
                  </a:lnTo>
                  <a:lnTo>
                    <a:pt x="264376" y="173545"/>
                  </a:lnTo>
                  <a:lnTo>
                    <a:pt x="266709" y="167549"/>
                  </a:lnTo>
                  <a:lnTo>
                    <a:pt x="268608" y="150431"/>
                  </a:lnTo>
                  <a:lnTo>
                    <a:pt x="268620" y="148005"/>
                  </a:lnTo>
                  <a:lnTo>
                    <a:pt x="267656" y="136749"/>
                  </a:lnTo>
                  <a:lnTo>
                    <a:pt x="241071" y="101173"/>
                  </a:lnTo>
                  <a:lnTo>
                    <a:pt x="201269" y="88252"/>
                  </a:lnTo>
                  <a:lnTo>
                    <a:pt x="101904" y="73774"/>
                  </a:lnTo>
                  <a:lnTo>
                    <a:pt x="97904" y="73075"/>
                  </a:lnTo>
                  <a:lnTo>
                    <a:pt x="94995" y="71996"/>
                  </a:lnTo>
                  <a:lnTo>
                    <a:pt x="93281" y="70040"/>
                  </a:lnTo>
                  <a:lnTo>
                    <a:pt x="91922" y="68313"/>
                  </a:lnTo>
                  <a:lnTo>
                    <a:pt x="91033" y="65544"/>
                  </a:lnTo>
                  <a:lnTo>
                    <a:pt x="91033" y="58369"/>
                  </a:lnTo>
                  <a:lnTo>
                    <a:pt x="124371" y="47764"/>
                  </a:lnTo>
                  <a:lnTo>
                    <a:pt x="254472" y="47764"/>
                  </a:lnTo>
                  <a:lnTo>
                    <a:pt x="253790" y="45940"/>
                  </a:lnTo>
                  <a:lnTo>
                    <a:pt x="225882" y="17780"/>
                  </a:lnTo>
                  <a:lnTo>
                    <a:pt x="184365" y="4660"/>
                  </a:lnTo>
                  <a:lnTo>
                    <a:pt x="141231" y="288"/>
                  </a:lnTo>
                  <a:lnTo>
                    <a:pt x="124371" y="0"/>
                  </a:lnTo>
                  <a:close/>
                </a:path>
                <a:path w="269240" h="224789">
                  <a:moveTo>
                    <a:pt x="254472" y="47764"/>
                  </a:moveTo>
                  <a:lnTo>
                    <a:pt x="128993" y="47764"/>
                  </a:lnTo>
                  <a:lnTo>
                    <a:pt x="133426" y="48234"/>
                  </a:lnTo>
                  <a:lnTo>
                    <a:pt x="137871" y="48653"/>
                  </a:lnTo>
                  <a:lnTo>
                    <a:pt x="142481" y="49441"/>
                  </a:lnTo>
                  <a:lnTo>
                    <a:pt x="146735" y="50660"/>
                  </a:lnTo>
                  <a:lnTo>
                    <a:pt x="154266" y="53594"/>
                  </a:lnTo>
                  <a:lnTo>
                    <a:pt x="157391" y="56070"/>
                  </a:lnTo>
                  <a:lnTo>
                    <a:pt x="159486" y="58635"/>
                  </a:lnTo>
                  <a:lnTo>
                    <a:pt x="161683" y="61125"/>
                  </a:lnTo>
                  <a:lnTo>
                    <a:pt x="163029" y="64668"/>
                  </a:lnTo>
                  <a:lnTo>
                    <a:pt x="163029" y="68961"/>
                  </a:lnTo>
                  <a:lnTo>
                    <a:pt x="259219" y="68961"/>
                  </a:lnTo>
                  <a:lnTo>
                    <a:pt x="258276" y="60749"/>
                  </a:lnTo>
                  <a:lnTo>
                    <a:pt x="256457" y="53073"/>
                  </a:lnTo>
                  <a:lnTo>
                    <a:pt x="254472" y="47764"/>
                  </a:lnTo>
                  <a:close/>
                </a:path>
              </a:pathLst>
            </a:custGeom>
            <a:solidFill>
              <a:srgbClr val="A4B4D9">
                <a:alpha val="18000"/>
              </a:srgbClr>
            </a:solidFill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7" name="object 20">
              <a:extLst>
                <a:ext uri="{FF2B5EF4-FFF2-40B4-BE49-F238E27FC236}">
                  <a16:creationId xmlns:a16="http://schemas.microsoft.com/office/drawing/2014/main" id="{437503FA-268B-064C-83DC-04B9950B243C}"/>
                </a:ext>
              </a:extLst>
            </p:cNvPr>
            <p:cNvSpPr/>
            <p:nvPr userDrawn="1"/>
          </p:nvSpPr>
          <p:spPr>
            <a:xfrm>
              <a:off x="8433710" y="589748"/>
              <a:ext cx="343535" cy="210185"/>
            </a:xfrm>
            <a:custGeom>
              <a:avLst/>
              <a:gdLst/>
              <a:ahLst/>
              <a:cxnLst/>
              <a:rect l="l" t="t" r="r" b="b"/>
              <a:pathLst>
                <a:path w="343534" h="210184">
                  <a:moveTo>
                    <a:pt x="80213" y="0"/>
                  </a:moveTo>
                  <a:lnTo>
                    <a:pt x="0" y="0"/>
                  </a:lnTo>
                  <a:lnTo>
                    <a:pt x="61023" y="210108"/>
                  </a:lnTo>
                  <a:lnTo>
                    <a:pt x="142506" y="210108"/>
                  </a:lnTo>
                  <a:lnTo>
                    <a:pt x="162836" y="128130"/>
                  </a:lnTo>
                  <a:lnTo>
                    <a:pt x="107340" y="128130"/>
                  </a:lnTo>
                  <a:lnTo>
                    <a:pt x="80213" y="0"/>
                  </a:lnTo>
                  <a:close/>
                </a:path>
                <a:path w="343534" h="210184">
                  <a:moveTo>
                    <a:pt x="227292" y="93446"/>
                  </a:moveTo>
                  <a:lnTo>
                    <a:pt x="171919" y="93446"/>
                  </a:lnTo>
                  <a:lnTo>
                    <a:pt x="200571" y="210108"/>
                  </a:lnTo>
                  <a:lnTo>
                    <a:pt x="282003" y="210108"/>
                  </a:lnTo>
                  <a:lnTo>
                    <a:pt x="305956" y="128130"/>
                  </a:lnTo>
                  <a:lnTo>
                    <a:pt x="235597" y="128130"/>
                  </a:lnTo>
                  <a:lnTo>
                    <a:pt x="227292" y="93446"/>
                  </a:lnTo>
                  <a:close/>
                </a:path>
                <a:path w="343534" h="210184">
                  <a:moveTo>
                    <a:pt x="204914" y="0"/>
                  </a:moveTo>
                  <a:lnTo>
                    <a:pt x="138620" y="0"/>
                  </a:lnTo>
                  <a:lnTo>
                    <a:pt x="107810" y="128130"/>
                  </a:lnTo>
                  <a:lnTo>
                    <a:pt x="162836" y="128130"/>
                  </a:lnTo>
                  <a:lnTo>
                    <a:pt x="171437" y="93446"/>
                  </a:lnTo>
                  <a:lnTo>
                    <a:pt x="227292" y="93446"/>
                  </a:lnTo>
                  <a:lnTo>
                    <a:pt x="204914" y="0"/>
                  </a:lnTo>
                  <a:close/>
                </a:path>
                <a:path w="343534" h="210184">
                  <a:moveTo>
                    <a:pt x="343395" y="0"/>
                  </a:moveTo>
                  <a:lnTo>
                    <a:pt x="263283" y="0"/>
                  </a:lnTo>
                  <a:lnTo>
                    <a:pt x="236194" y="128130"/>
                  </a:lnTo>
                  <a:lnTo>
                    <a:pt x="305956" y="128130"/>
                  </a:lnTo>
                  <a:lnTo>
                    <a:pt x="343395" y="0"/>
                  </a:lnTo>
                  <a:close/>
                </a:path>
              </a:pathLst>
            </a:custGeom>
            <a:solidFill>
              <a:srgbClr val="A4B4D9">
                <a:alpha val="18000"/>
              </a:srgbClr>
            </a:solidFill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868559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BG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D2CD5905-A338-204F-BD5C-56C29B940D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13444537" cy="756285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4B35F3AC-1D85-4ED7-9A9B-AED993EF57F3}"/>
              </a:ext>
            </a:extLst>
          </p:cNvPr>
          <p:cNvSpPr/>
          <p:nvPr userDrawn="1"/>
        </p:nvSpPr>
        <p:spPr>
          <a:xfrm>
            <a:off x="518999" y="4411663"/>
            <a:ext cx="12406541" cy="2622831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654C340A-5A64-9A4B-BC7B-C2435778AD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86676" y="1344507"/>
            <a:ext cx="6743695" cy="2876838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defRPr sz="463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0196E1D2-2B06-124B-B328-57B1FA52A8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6677" y="4565721"/>
            <a:ext cx="6743693" cy="221283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bg1"/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E4C5CF7-B5B0-464C-A15F-5C3E75782A6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786678" y="387823"/>
            <a:ext cx="1949172" cy="36968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6522D32-62D2-430D-AFA6-F975B9DA3BB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444955"/>
            <a:ext cx="620939" cy="199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70232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044870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FCA256-CCBE-074A-8F14-29700E359B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F81E4-D8C0-9744-AF45-9BB17D958942}" type="datetimeFigureOut">
              <a:rPr lang="ru-RU" smtClean="0">
                <a:solidFill>
                  <a:srgbClr val="FFFFFF">
                    <a:lumMod val="85000"/>
                  </a:srgbClr>
                </a:solidFill>
              </a:rPr>
              <a:pPr/>
              <a:t>18.10.2022</a:t>
            </a:fld>
            <a:endParaRPr lang="ru-RU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8A8032-FB4E-204B-9CA4-B3BD8E3036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66B4A3-4129-F34A-ABB8-07862CFF62C7}" type="slidenum">
              <a:rPr lang="ru-RU" smtClean="0">
                <a:solidFill>
                  <a:srgbClr val="FFFFFF">
                    <a:lumMod val="8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FFFFFF">
                  <a:lumMod val="8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4615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sis and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>
            <a:extLst>
              <a:ext uri="{FF2B5EF4-FFF2-40B4-BE49-F238E27FC236}">
                <a16:creationId xmlns:a16="http://schemas.microsoft.com/office/drawing/2014/main" id="{654C340A-5A64-9A4B-BC7B-C2435778AD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82955" y="1224095"/>
            <a:ext cx="5440563" cy="2601818"/>
          </a:xfrm>
          <a:noFill/>
        </p:spPr>
        <p:txBody>
          <a:bodyPr anchor="b">
            <a:noAutofit/>
          </a:bodyPr>
          <a:lstStyle>
            <a:lvl1pPr algn="l">
              <a:defRPr sz="463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0196E1D2-2B06-124B-B328-57B1FA52A8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2954" y="3959375"/>
            <a:ext cx="5440564" cy="2997747"/>
          </a:xfr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accent2"/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831F79D5-3B55-E449-923D-670C81D970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221019" y="1224096"/>
            <a:ext cx="5440565" cy="5733026"/>
          </a:xfr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35698BC-3DDF-F14F-96CD-CFD76EABB9EC}"/>
              </a:ext>
            </a:extLst>
          </p:cNvPr>
          <p:cNvCxnSpPr>
            <a:cxnSpLocks/>
          </p:cNvCxnSpPr>
          <p:nvPr userDrawn="1"/>
        </p:nvCxnSpPr>
        <p:spPr>
          <a:xfrm>
            <a:off x="6722269" y="1224095"/>
            <a:ext cx="0" cy="5745591"/>
          </a:xfrm>
          <a:prstGeom prst="line">
            <a:avLst/>
          </a:prstGeom>
          <a:ln w="50800">
            <a:solidFill>
              <a:schemeClr val="accent6">
                <a:lumMod val="20000"/>
                <a:lumOff val="80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32265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3">
            <a:extLst>
              <a:ext uri="{FF2B5EF4-FFF2-40B4-BE49-F238E27FC236}">
                <a16:creationId xmlns:a16="http://schemas.microsoft.com/office/drawing/2014/main" id="{AE333ECE-B1D7-4D86-B7E1-13E53A861770}"/>
              </a:ext>
            </a:extLst>
          </p:cNvPr>
          <p:cNvSpPr/>
          <p:nvPr userDrawn="1"/>
        </p:nvSpPr>
        <p:spPr>
          <a:xfrm>
            <a:off x="0" y="1771305"/>
            <a:ext cx="13444538" cy="74879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15010" b="4142"/>
            </a:stretch>
          </a:blipFill>
        </p:spPr>
        <p:txBody>
          <a:bodyPr wrap="square" lIns="0" tIns="0" rIns="0" bIns="0" rtlCol="0"/>
          <a:lstStyle/>
          <a:p>
            <a:endParaRPr sz="1985" dirty="0">
              <a:solidFill>
                <a:srgbClr val="004987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5C1594-D0EE-1149-A408-DEB54452C1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5951" y="1156024"/>
            <a:ext cx="11912639" cy="748798"/>
          </a:xfrm>
        </p:spPr>
        <p:txBody>
          <a:bodyPr>
            <a:noAutofit/>
          </a:bodyPr>
          <a:lstStyle>
            <a:lvl1pPr>
              <a:defRPr sz="3529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B440EACC-2FC2-41A5-AB0E-BE51BBE6E2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65951" y="3870227"/>
            <a:ext cx="3172508" cy="2737627"/>
          </a:xfr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47B9800B-C82A-432D-A80E-354F28999CAB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4241760" y="3870227"/>
            <a:ext cx="3172508" cy="2737627"/>
          </a:xfr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3D3EA2CE-902A-4D80-9C0E-5A5A0AF684DA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7670117" y="3870227"/>
            <a:ext cx="3172508" cy="2737627"/>
          </a:xfr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5DB6916D-BDD8-4BE7-B438-E2B30E5855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2954" y="2460502"/>
            <a:ext cx="9490255" cy="1232123"/>
          </a:xfr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accent2"/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8236676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ject 3">
            <a:extLst>
              <a:ext uri="{FF2B5EF4-FFF2-40B4-BE49-F238E27FC236}">
                <a16:creationId xmlns:a16="http://schemas.microsoft.com/office/drawing/2014/main" id="{E6F4BC12-FF2A-684D-91B4-D8E527202614}"/>
              </a:ext>
            </a:extLst>
          </p:cNvPr>
          <p:cNvSpPr/>
          <p:nvPr userDrawn="1"/>
        </p:nvSpPr>
        <p:spPr>
          <a:xfrm>
            <a:off x="0" y="1771305"/>
            <a:ext cx="13444538" cy="74879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15010" b="4142"/>
            </a:stretch>
          </a:blipFill>
        </p:spPr>
        <p:txBody>
          <a:bodyPr wrap="square" lIns="0" tIns="0" rIns="0" bIns="0" rtlCol="0"/>
          <a:lstStyle/>
          <a:p>
            <a:endParaRPr sz="1985" dirty="0">
              <a:solidFill>
                <a:srgbClr val="004987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E42394-29D9-8842-9B9F-9B2E2D48222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65951" y="2548114"/>
            <a:ext cx="3172508" cy="809011"/>
          </a:xfrm>
        </p:spPr>
        <p:txBody>
          <a:bodyPr anchor="b">
            <a:noAutofit/>
          </a:bodyPr>
          <a:lstStyle>
            <a:lvl1pPr marL="0" indent="0">
              <a:buNone/>
              <a:defRPr sz="2205" b="1" i="0">
                <a:solidFill>
                  <a:schemeClr val="tx1"/>
                </a:solidFill>
                <a:latin typeface="Ubuntu" panose="020B0504030602030204" pitchFamily="34" charset="0"/>
              </a:defRPr>
            </a:lvl1pPr>
            <a:lvl2pPr>
              <a:defRPr sz="1985">
                <a:solidFill>
                  <a:schemeClr val="bg2">
                    <a:lumMod val="10000"/>
                    <a:alpha val="65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  <a:alpha val="65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  <a:alpha val="65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  <a:alpha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CBFE626-FC2F-4E86-8795-4D1E74D5C9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5951" y="1156024"/>
            <a:ext cx="11925565" cy="748798"/>
          </a:xfrm>
        </p:spPr>
        <p:txBody>
          <a:bodyPr>
            <a:noAutofit/>
          </a:bodyPr>
          <a:lstStyle>
            <a:lvl1pPr>
              <a:defRPr sz="3529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E1BA31DA-1F4B-4AEA-B548-D58D61306FB7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253622" y="2548114"/>
            <a:ext cx="3172508" cy="809011"/>
          </a:xfrm>
        </p:spPr>
        <p:txBody>
          <a:bodyPr anchor="b">
            <a:noAutofit/>
          </a:bodyPr>
          <a:lstStyle>
            <a:lvl1pPr marL="0" indent="0">
              <a:buNone/>
              <a:defRPr sz="2205" b="1" i="0">
                <a:solidFill>
                  <a:schemeClr val="tx1"/>
                </a:solidFill>
                <a:latin typeface="Ubuntu" panose="020B0504030602030204" pitchFamily="34" charset="0"/>
              </a:defRPr>
            </a:lvl1pPr>
            <a:lvl2pPr>
              <a:defRPr sz="1985">
                <a:solidFill>
                  <a:schemeClr val="bg2">
                    <a:lumMod val="10000"/>
                    <a:alpha val="65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  <a:alpha val="65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  <a:alpha val="65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  <a:alpha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0B9D35D2-63C4-4E4E-A034-D103A9C8BA0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7681981" y="2548114"/>
            <a:ext cx="3172508" cy="809011"/>
          </a:xfrm>
        </p:spPr>
        <p:txBody>
          <a:bodyPr anchor="b">
            <a:noAutofit/>
          </a:bodyPr>
          <a:lstStyle>
            <a:lvl1pPr marL="0" indent="0">
              <a:buNone/>
              <a:defRPr sz="2205" b="1" i="0">
                <a:solidFill>
                  <a:schemeClr val="tx1"/>
                </a:solidFill>
                <a:latin typeface="Ubuntu" panose="020B0504030602030204" pitchFamily="34" charset="0"/>
              </a:defRPr>
            </a:lvl1pPr>
            <a:lvl2pPr>
              <a:defRPr sz="1985">
                <a:solidFill>
                  <a:schemeClr val="bg2">
                    <a:lumMod val="10000"/>
                    <a:alpha val="65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  <a:alpha val="65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  <a:alpha val="65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  <a:alpha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05A0A530-3747-4036-94FF-DA6A4355AB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65951" y="3487808"/>
            <a:ext cx="3172508" cy="3120046"/>
          </a:xfr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4508A6A5-43F4-43D1-9A2F-C4C669E1FAF8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241760" y="3487808"/>
            <a:ext cx="3172508" cy="3120046"/>
          </a:xfr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86F798E5-E975-4F32-BB4C-C101F04DFD4E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7670117" y="3487808"/>
            <a:ext cx="3172508" cy="3120046"/>
          </a:xfr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4746820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ject 3">
            <a:extLst>
              <a:ext uri="{FF2B5EF4-FFF2-40B4-BE49-F238E27FC236}">
                <a16:creationId xmlns:a16="http://schemas.microsoft.com/office/drawing/2014/main" id="{E6F4BC12-FF2A-684D-91B4-D8E527202614}"/>
              </a:ext>
            </a:extLst>
          </p:cNvPr>
          <p:cNvSpPr/>
          <p:nvPr userDrawn="1"/>
        </p:nvSpPr>
        <p:spPr>
          <a:xfrm>
            <a:off x="0" y="1771305"/>
            <a:ext cx="13444538" cy="74879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15010" b="4142"/>
            </a:stretch>
          </a:blipFill>
        </p:spPr>
        <p:txBody>
          <a:bodyPr wrap="square" lIns="0" tIns="0" rIns="0" bIns="0" rtlCol="0"/>
          <a:lstStyle/>
          <a:p>
            <a:endParaRPr sz="1985" dirty="0">
              <a:solidFill>
                <a:srgbClr val="004987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E42394-29D9-8842-9B9F-9B2E2D48222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65951" y="3340457"/>
            <a:ext cx="3172508" cy="809011"/>
          </a:xfrm>
        </p:spPr>
        <p:txBody>
          <a:bodyPr anchor="b">
            <a:noAutofit/>
          </a:bodyPr>
          <a:lstStyle>
            <a:lvl1pPr marL="0" indent="0">
              <a:buNone/>
              <a:defRPr sz="2205" b="1" i="0">
                <a:solidFill>
                  <a:schemeClr val="tx1"/>
                </a:solidFill>
                <a:latin typeface="Ubuntu" panose="020B0504030602030204" pitchFamily="34" charset="0"/>
              </a:defRPr>
            </a:lvl1pPr>
            <a:lvl2pPr>
              <a:defRPr sz="1985">
                <a:solidFill>
                  <a:schemeClr val="bg2">
                    <a:lumMod val="10000"/>
                    <a:alpha val="65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  <a:alpha val="65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  <a:alpha val="65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  <a:alpha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CBFE626-FC2F-4E86-8795-4D1E74D5C9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5951" y="1156024"/>
            <a:ext cx="11925565" cy="748798"/>
          </a:xfrm>
        </p:spPr>
        <p:txBody>
          <a:bodyPr>
            <a:noAutofit/>
          </a:bodyPr>
          <a:lstStyle>
            <a:lvl1pPr>
              <a:defRPr sz="3529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E1BA31DA-1F4B-4AEA-B548-D58D61306FB7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253622" y="3340457"/>
            <a:ext cx="3172508" cy="809011"/>
          </a:xfrm>
        </p:spPr>
        <p:txBody>
          <a:bodyPr anchor="b">
            <a:noAutofit/>
          </a:bodyPr>
          <a:lstStyle>
            <a:lvl1pPr marL="0" indent="0">
              <a:buNone/>
              <a:defRPr sz="2205" b="1" i="0">
                <a:solidFill>
                  <a:schemeClr val="tx1"/>
                </a:solidFill>
                <a:latin typeface="Ubuntu" panose="020B0504030602030204" pitchFamily="34" charset="0"/>
              </a:defRPr>
            </a:lvl1pPr>
            <a:lvl2pPr>
              <a:defRPr sz="1985">
                <a:solidFill>
                  <a:schemeClr val="bg2">
                    <a:lumMod val="10000"/>
                    <a:alpha val="65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  <a:alpha val="65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  <a:alpha val="65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  <a:alpha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0B9D35D2-63C4-4E4E-A034-D103A9C8BA0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7681981" y="3340457"/>
            <a:ext cx="3172508" cy="809011"/>
          </a:xfrm>
        </p:spPr>
        <p:txBody>
          <a:bodyPr anchor="b">
            <a:noAutofit/>
          </a:bodyPr>
          <a:lstStyle>
            <a:lvl1pPr marL="0" indent="0">
              <a:buNone/>
              <a:defRPr sz="2205" b="1" i="0">
                <a:solidFill>
                  <a:schemeClr val="tx1"/>
                </a:solidFill>
                <a:latin typeface="Ubuntu" panose="020B0504030602030204" pitchFamily="34" charset="0"/>
              </a:defRPr>
            </a:lvl1pPr>
            <a:lvl2pPr>
              <a:defRPr sz="1985">
                <a:solidFill>
                  <a:schemeClr val="bg2">
                    <a:lumMod val="10000"/>
                    <a:alpha val="65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  <a:alpha val="65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  <a:alpha val="65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  <a:alpha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E64C8AE8-78B1-4459-BC1E-BEF83703481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65951" y="4307906"/>
            <a:ext cx="3172508" cy="2299948"/>
          </a:xfr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0CE68B4A-D0C9-4AE1-8CCE-9CBAD939C991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4241760" y="4307906"/>
            <a:ext cx="3172508" cy="2299948"/>
          </a:xfr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68F30C1A-B762-4043-9C0F-80D016733CF3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7670117" y="4307906"/>
            <a:ext cx="3172508" cy="2299948"/>
          </a:xfr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40117054-C015-4C26-BE72-5F382FFFC8A6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782954" y="2433222"/>
            <a:ext cx="6275429" cy="748798"/>
          </a:xfr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accent2"/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065717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E42394-29D9-8842-9B9F-9B2E2D48222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65951" y="2580266"/>
            <a:ext cx="5713172" cy="4231550"/>
          </a:xfr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894C020-EBBD-425E-9804-77971AC14D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5951" y="1156023"/>
            <a:ext cx="11925565" cy="957284"/>
          </a:xfrm>
        </p:spPr>
        <p:txBody>
          <a:bodyPr anchor="b">
            <a:noAutofit/>
          </a:bodyPr>
          <a:lstStyle>
            <a:lvl1pPr>
              <a:defRPr sz="3529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E09F0DB-AF16-49F7-99F0-251398E4382B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966172" y="2580266"/>
            <a:ext cx="5713172" cy="4231550"/>
          </a:xfr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8356099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FB67CC5-962E-EE48-966E-1594E5079941}"/>
              </a:ext>
            </a:extLst>
          </p:cNvPr>
          <p:cNvSpPr/>
          <p:nvPr userDrawn="1"/>
        </p:nvSpPr>
        <p:spPr>
          <a:xfrm>
            <a:off x="607456" y="2048272"/>
            <a:ext cx="6036037" cy="49088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52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9A6498-FAD9-934A-9A2F-AFC9EF69D0C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47437" y="2303249"/>
            <a:ext cx="5567323" cy="714269"/>
          </a:xfrm>
        </p:spPr>
        <p:txBody>
          <a:bodyPr anchor="b">
            <a:noAutofit/>
          </a:bodyPr>
          <a:lstStyle>
            <a:lvl1pPr marL="0" indent="0">
              <a:buNone/>
              <a:defRPr sz="2646" b="1">
                <a:solidFill>
                  <a:schemeClr val="tx1"/>
                </a:solidFill>
              </a:defRPr>
            </a:lvl1pPr>
            <a:lvl2pPr marL="504154" indent="0">
              <a:buNone/>
              <a:defRPr sz="2205" b="1"/>
            </a:lvl2pPr>
            <a:lvl3pPr marL="1008309" indent="0">
              <a:buNone/>
              <a:defRPr sz="1985" b="1"/>
            </a:lvl3pPr>
            <a:lvl4pPr marL="1512463" indent="0">
              <a:buNone/>
              <a:defRPr sz="1764" b="1"/>
            </a:lvl4pPr>
            <a:lvl5pPr marL="2016618" indent="0">
              <a:buNone/>
              <a:defRPr sz="1764" b="1"/>
            </a:lvl5pPr>
            <a:lvl6pPr marL="2520772" indent="0">
              <a:buNone/>
              <a:defRPr sz="1764" b="1"/>
            </a:lvl6pPr>
            <a:lvl7pPr marL="3024927" indent="0">
              <a:buNone/>
              <a:defRPr sz="1764" b="1"/>
            </a:lvl7pPr>
            <a:lvl8pPr marL="3529081" indent="0">
              <a:buNone/>
              <a:defRPr sz="1764" b="1"/>
            </a:lvl8pPr>
            <a:lvl9pPr marL="4033236" indent="0">
              <a:buNone/>
              <a:defRPr sz="1764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4BB8BA-E050-6641-B852-B8EA5E7367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47436" y="3210296"/>
            <a:ext cx="5567325" cy="3200311"/>
          </a:xfr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  <a:alpha val="75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  <a:alpha val="75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  <a:alpha val="75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  <a:alpha val="75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  <a:alpha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AC2A621-35AD-1C4F-B4CA-792D325DB1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7884" y="1115656"/>
            <a:ext cx="11348771" cy="748798"/>
          </a:xfrm>
          <a:noFill/>
        </p:spPr>
        <p:txBody>
          <a:bodyPr>
            <a:noAutofit/>
          </a:bodyPr>
          <a:lstStyle>
            <a:lvl1pPr algn="ctr">
              <a:defRPr sz="3529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D877B6-B5CF-41F5-9848-36E8759C1D5C}"/>
              </a:ext>
            </a:extLst>
          </p:cNvPr>
          <p:cNvSpPr/>
          <p:nvPr userDrawn="1"/>
        </p:nvSpPr>
        <p:spPr>
          <a:xfrm>
            <a:off x="6807677" y="2048272"/>
            <a:ext cx="6036037" cy="49088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524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F0A6ECA-D8F2-4110-8C96-A5AF5B16BA6B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7047658" y="2303249"/>
            <a:ext cx="5567323" cy="714269"/>
          </a:xfrm>
        </p:spPr>
        <p:txBody>
          <a:bodyPr anchor="b">
            <a:noAutofit/>
          </a:bodyPr>
          <a:lstStyle>
            <a:lvl1pPr marL="0" indent="0">
              <a:buNone/>
              <a:defRPr sz="2646" b="1">
                <a:solidFill>
                  <a:schemeClr val="tx1"/>
                </a:solidFill>
              </a:defRPr>
            </a:lvl1pPr>
            <a:lvl2pPr marL="504154" indent="0">
              <a:buNone/>
              <a:defRPr sz="2205" b="1"/>
            </a:lvl2pPr>
            <a:lvl3pPr marL="1008309" indent="0">
              <a:buNone/>
              <a:defRPr sz="1985" b="1"/>
            </a:lvl3pPr>
            <a:lvl4pPr marL="1512463" indent="0">
              <a:buNone/>
              <a:defRPr sz="1764" b="1"/>
            </a:lvl4pPr>
            <a:lvl5pPr marL="2016618" indent="0">
              <a:buNone/>
              <a:defRPr sz="1764" b="1"/>
            </a:lvl5pPr>
            <a:lvl6pPr marL="2520772" indent="0">
              <a:buNone/>
              <a:defRPr sz="1764" b="1"/>
            </a:lvl6pPr>
            <a:lvl7pPr marL="3024927" indent="0">
              <a:buNone/>
              <a:defRPr sz="1764" b="1"/>
            </a:lvl7pPr>
            <a:lvl8pPr marL="3529081" indent="0">
              <a:buNone/>
              <a:defRPr sz="1764" b="1"/>
            </a:lvl8pPr>
            <a:lvl9pPr marL="4033236" indent="0">
              <a:buNone/>
              <a:defRPr sz="1764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A77A9BB1-126E-4B04-953A-D785BB360F65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7047657" y="3210296"/>
            <a:ext cx="5567325" cy="3200311"/>
          </a:xfr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  <a:alpha val="75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  <a:alpha val="75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  <a:alpha val="75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  <a:alpha val="75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  <a:alpha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5974901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Main Thou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580F2C4-FF22-0542-8447-013CE4480895}"/>
              </a:ext>
            </a:extLst>
          </p:cNvPr>
          <p:cNvSpPr/>
          <p:nvPr userDrawn="1"/>
        </p:nvSpPr>
        <p:spPr>
          <a:xfrm>
            <a:off x="6801046" y="1164778"/>
            <a:ext cx="6036037" cy="507828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 dirty="0">
              <a:solidFill>
                <a:srgbClr val="FFFFFF"/>
              </a:solidFill>
            </a:endParaRPr>
          </a:p>
        </p:txBody>
      </p:sp>
      <p:sp>
        <p:nvSpPr>
          <p:cNvPr id="2" name="Right Triangle 1">
            <a:extLst>
              <a:ext uri="{FF2B5EF4-FFF2-40B4-BE49-F238E27FC236}">
                <a16:creationId xmlns:a16="http://schemas.microsoft.com/office/drawing/2014/main" id="{CB76B432-A13A-2D4D-99E0-6E9ED849FB84}"/>
              </a:ext>
            </a:extLst>
          </p:cNvPr>
          <p:cNvSpPr/>
          <p:nvPr userDrawn="1"/>
        </p:nvSpPr>
        <p:spPr>
          <a:xfrm rot="5400000">
            <a:off x="8866730" y="6243072"/>
            <a:ext cx="682139" cy="682112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AF1214F-DEF9-4046-876F-0B4A9EA10F07}"/>
              </a:ext>
            </a:extLst>
          </p:cNvPr>
          <p:cNvSpPr txBox="1">
            <a:spLocks/>
          </p:cNvSpPr>
          <p:nvPr userDrawn="1"/>
        </p:nvSpPr>
        <p:spPr>
          <a:xfrm>
            <a:off x="7516593" y="1571887"/>
            <a:ext cx="4604946" cy="4241128"/>
          </a:xfrm>
          <a:prstGeom prst="rect">
            <a:avLst/>
          </a:prstGeom>
        </p:spPr>
        <p:txBody>
          <a:bodyPr vert="horz" lIns="0" tIns="50417" rIns="100834" bIns="50417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accent4"/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970" dirty="0">
                <a:solidFill>
                  <a:srgbClr val="FFFFFF"/>
                </a:solidFill>
              </a:rPr>
              <a:t>Click to edit Master subtitle style</a:t>
            </a:r>
            <a:endParaRPr lang="ru-RU" sz="3970" dirty="0">
              <a:solidFill>
                <a:srgbClr val="FFFFFF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AC15D0E-0B44-4F2E-9AC2-55A6504D63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2345" y="1536676"/>
            <a:ext cx="5556599" cy="1302491"/>
          </a:xfrm>
          <a:noFill/>
        </p:spPr>
        <p:txBody>
          <a:bodyPr anchor="b">
            <a:noAutofit/>
          </a:bodyPr>
          <a:lstStyle>
            <a:lvl1pPr algn="l">
              <a:defRPr sz="463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33AC5BB7-09A9-43A1-8495-08B8CC6DBF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2954" y="2944686"/>
            <a:ext cx="5556600" cy="622594"/>
          </a:xfr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accent2"/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66A21C87-E36E-43EA-9294-E36CFC802C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72345" y="3672800"/>
            <a:ext cx="5556600" cy="2777867"/>
          </a:xfr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6659678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o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1339B5-31B8-4A30-9025-76993E6E0B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98414" y="1001377"/>
            <a:ext cx="3441299" cy="3424310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B3801004-3341-2546-BAF4-70A8CC06D981}"/>
              </a:ext>
            </a:extLst>
          </p:cNvPr>
          <p:cNvSpPr txBox="1">
            <a:spLocks/>
          </p:cNvSpPr>
          <p:nvPr userDrawn="1"/>
        </p:nvSpPr>
        <p:spPr>
          <a:xfrm>
            <a:off x="8866742" y="1890713"/>
            <a:ext cx="1904645" cy="1676567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200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0586" dirty="0">
                <a:solidFill>
                  <a:srgbClr val="EE7500"/>
                </a:solidFill>
                <a:latin typeface="Ubuntu Regular" panose="020B0504030602030204" pitchFamily="34" charset="0"/>
              </a:rPr>
              <a:t>12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615D45C6-AD73-4189-8598-2D7B96DB59D6}"/>
              </a:ext>
            </a:extLst>
          </p:cNvPr>
          <p:cNvSpPr txBox="1">
            <a:spLocks/>
          </p:cNvSpPr>
          <p:nvPr userDrawn="1"/>
        </p:nvSpPr>
        <p:spPr>
          <a:xfrm>
            <a:off x="8014666" y="4660461"/>
            <a:ext cx="3608797" cy="1827995"/>
          </a:xfrm>
          <a:prstGeom prst="rect">
            <a:avLst/>
          </a:prstGeom>
        </p:spPr>
        <p:txBody>
          <a:bodyPr vert="horz" lIns="100834" tIns="50417" rIns="100834" bIns="50417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accent4"/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646" dirty="0">
                <a:solidFill>
                  <a:srgbClr val="EE7500"/>
                </a:solidFill>
              </a:rPr>
              <a:t>Click to edit Master subtitle style</a:t>
            </a:r>
            <a:endParaRPr lang="ru-RU" sz="2646" dirty="0">
              <a:solidFill>
                <a:srgbClr val="EE7500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1800FF7-9559-4F7D-BF32-C9428E2E44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2345" y="1536676"/>
            <a:ext cx="5556599" cy="1302491"/>
          </a:xfrm>
          <a:noFill/>
        </p:spPr>
        <p:txBody>
          <a:bodyPr anchor="b">
            <a:noAutofit/>
          </a:bodyPr>
          <a:lstStyle>
            <a:lvl1pPr algn="l">
              <a:defRPr sz="463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D95E6C58-D5BE-4245-8C79-23BB4BF03B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2954" y="2944686"/>
            <a:ext cx="5556600" cy="622594"/>
          </a:xfr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bg2">
                    <a:lumMod val="10000"/>
                  </a:schemeClr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CC910370-79E9-4B88-B6FF-FB3EA4E73E6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72345" y="3672800"/>
            <a:ext cx="5556600" cy="2777867"/>
          </a:xfr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8062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+ BG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D2CD5905-A338-204F-BD5C-56C29B940D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13444537" cy="756285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08B3CE9-D8FA-4DAD-9625-E2CBBDE45742}"/>
              </a:ext>
            </a:extLst>
          </p:cNvPr>
          <p:cNvSpPr/>
          <p:nvPr userDrawn="1"/>
        </p:nvSpPr>
        <p:spPr>
          <a:xfrm>
            <a:off x="1" y="0"/>
            <a:ext cx="13444537" cy="7562850"/>
          </a:xfrm>
          <a:prstGeom prst="rect">
            <a:avLst/>
          </a:prstGeom>
          <a:solidFill>
            <a:schemeClr val="tx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E4C5CF7-B5B0-464C-A15F-5C3E75782A6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786678" y="387823"/>
            <a:ext cx="1949172" cy="36968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6522D32-62D2-430D-AFA6-F975B9DA3BB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444955"/>
            <a:ext cx="620939" cy="199177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FC82078D-8AD5-4C24-B00E-50683E3F5C49}"/>
              </a:ext>
            </a:extLst>
          </p:cNvPr>
          <p:cNvSpPr/>
          <p:nvPr userDrawn="1"/>
        </p:nvSpPr>
        <p:spPr>
          <a:xfrm>
            <a:off x="518999" y="4411663"/>
            <a:ext cx="12406541" cy="2622831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>
                  <a:alpha val="74000"/>
                </a:srgbClr>
              </a:solidFill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FCC3EF-504E-47E4-BBB0-4323C435C3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86676" y="1344507"/>
            <a:ext cx="6743695" cy="2876838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defRPr sz="463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0A48DF20-114D-401A-A2FC-8954AD1018D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6677" y="4565721"/>
            <a:ext cx="6743694" cy="221283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bg2">
                    <a:lumMod val="10000"/>
                    <a:alpha val="85000"/>
                  </a:schemeClr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461368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oid+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2">
            <a:extLst>
              <a:ext uri="{FF2B5EF4-FFF2-40B4-BE49-F238E27FC236}">
                <a16:creationId xmlns:a16="http://schemas.microsoft.com/office/drawing/2014/main" id="{45C64D1C-2C7E-4384-968B-4899A73FE737}"/>
              </a:ext>
            </a:extLst>
          </p:cNvPr>
          <p:cNvSpPr/>
          <p:nvPr userDrawn="1"/>
        </p:nvSpPr>
        <p:spPr>
          <a:xfrm>
            <a:off x="6801047" y="848235"/>
            <a:ext cx="6036036" cy="603627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616D870-54B0-EF49-B856-06505B31FD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332402" y="662651"/>
            <a:ext cx="4973323" cy="4973519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0AF1214F-DEF9-4046-876F-0B4A9EA10F07}"/>
              </a:ext>
            </a:extLst>
          </p:cNvPr>
          <p:cNvSpPr txBox="1">
            <a:spLocks/>
          </p:cNvSpPr>
          <p:nvPr userDrawn="1"/>
        </p:nvSpPr>
        <p:spPr>
          <a:xfrm>
            <a:off x="8014666" y="4151522"/>
            <a:ext cx="3608797" cy="1827995"/>
          </a:xfrm>
          <a:prstGeom prst="rect">
            <a:avLst/>
          </a:prstGeom>
        </p:spPr>
        <p:txBody>
          <a:bodyPr vert="horz" lIns="100834" tIns="50417" rIns="100834" bIns="50417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accent4"/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646" dirty="0">
                <a:solidFill>
                  <a:srgbClr val="FFFFFF"/>
                </a:solidFill>
              </a:rPr>
              <a:t>Click to edit Master subtitle style</a:t>
            </a:r>
            <a:endParaRPr lang="ru-RU" sz="2646" dirty="0">
              <a:solidFill>
                <a:srgbClr val="FFFFFF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3AE1201-4C24-474C-BA7B-C96EE09C6A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2345" y="1536676"/>
            <a:ext cx="5556599" cy="1302491"/>
          </a:xfrm>
          <a:noFill/>
        </p:spPr>
        <p:txBody>
          <a:bodyPr anchor="b">
            <a:noAutofit/>
          </a:bodyPr>
          <a:lstStyle>
            <a:lvl1pPr algn="l">
              <a:defRPr sz="463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C62DAFF-EBB1-4939-90D4-1025320B56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2954" y="2944686"/>
            <a:ext cx="5556600" cy="622594"/>
          </a:xfr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accent2"/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4B68E7B-6107-490A-BEF2-E6003A0680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72345" y="3672800"/>
            <a:ext cx="5556600" cy="2777867"/>
          </a:xfr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3172856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acto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40D516A-F3E2-ED42-A746-7D6DDC7ADF4B}"/>
              </a:ext>
            </a:extLst>
          </p:cNvPr>
          <p:cNvSpPr/>
          <p:nvPr userDrawn="1"/>
        </p:nvSpPr>
        <p:spPr>
          <a:xfrm>
            <a:off x="6801046" y="1164778"/>
            <a:ext cx="6036037" cy="579234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616D870-54B0-EF49-B856-06505B31FD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332403" y="1005998"/>
            <a:ext cx="4973323" cy="4973519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0AF1214F-DEF9-4046-876F-0B4A9EA10F07}"/>
              </a:ext>
            </a:extLst>
          </p:cNvPr>
          <p:cNvSpPr txBox="1">
            <a:spLocks/>
          </p:cNvSpPr>
          <p:nvPr userDrawn="1"/>
        </p:nvSpPr>
        <p:spPr>
          <a:xfrm>
            <a:off x="8014667" y="4493484"/>
            <a:ext cx="3608797" cy="1486034"/>
          </a:xfrm>
          <a:prstGeom prst="rect">
            <a:avLst/>
          </a:prstGeom>
        </p:spPr>
        <p:txBody>
          <a:bodyPr vert="horz" lIns="100834" tIns="50417" rIns="100834" bIns="50417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accent4"/>
                </a:solidFill>
                <a:latin typeface="Ubuntu" panose="020B050403060203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bg2">
                    <a:lumMod val="2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646" dirty="0">
                <a:solidFill>
                  <a:srgbClr val="FFFFFF"/>
                </a:solidFill>
              </a:rPr>
              <a:t>Click to edit Master subtitle style</a:t>
            </a:r>
            <a:endParaRPr lang="ru-RU" sz="2646" dirty="0">
              <a:solidFill>
                <a:srgbClr val="FFFFFF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DBCD169-03BF-4134-BCFE-B4AC25E076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2345" y="1536676"/>
            <a:ext cx="5556599" cy="1302491"/>
          </a:xfrm>
          <a:noFill/>
        </p:spPr>
        <p:txBody>
          <a:bodyPr anchor="b">
            <a:noAutofit/>
          </a:bodyPr>
          <a:lstStyle>
            <a:lvl1pPr algn="l">
              <a:defRPr sz="463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F84E9CE-2C7F-4D71-9CDD-F8FF9C645D6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2954" y="2944686"/>
            <a:ext cx="5556600" cy="622594"/>
          </a:xfr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accent2"/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99E3A84C-10AF-41D6-AAE4-C0115227B3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72345" y="3672800"/>
            <a:ext cx="5556600" cy="2777867"/>
          </a:xfr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36699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mo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2ED01D9-D292-8A43-9BD2-AA256F27B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22270" y="0"/>
            <a:ext cx="6722268" cy="7564804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8EEB7EB-F673-4C2E-9347-F8CF62A500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2345" y="1536676"/>
            <a:ext cx="5556599" cy="1302491"/>
          </a:xfrm>
          <a:noFill/>
        </p:spPr>
        <p:txBody>
          <a:bodyPr anchor="b">
            <a:noAutofit/>
          </a:bodyPr>
          <a:lstStyle>
            <a:lvl1pPr algn="l">
              <a:defRPr sz="463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3BB7A59B-C235-473E-B55E-B04D8D3CDC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2954" y="2944686"/>
            <a:ext cx="5556600" cy="622594"/>
          </a:xfr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accent2"/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1779A809-50BD-4B7A-938A-0064358A8F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72345" y="3672800"/>
            <a:ext cx="5556600" cy="2777867"/>
          </a:xfr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84237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mo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3E8A147-8648-5845-BE23-6FE9C0747E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22269" y="0"/>
            <a:ext cx="6722269" cy="756285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42F09C37-D91E-4970-A36D-0CA6235D91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2345" y="1536676"/>
            <a:ext cx="5556599" cy="1302491"/>
          </a:xfrm>
          <a:noFill/>
        </p:spPr>
        <p:txBody>
          <a:bodyPr anchor="b">
            <a:noAutofit/>
          </a:bodyPr>
          <a:lstStyle>
            <a:lvl1pPr algn="l">
              <a:defRPr sz="463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5AC1D67-046D-4771-B42C-6A647365A6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2954" y="2944686"/>
            <a:ext cx="5556600" cy="622594"/>
          </a:xfr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accent2"/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D7A86B1-1347-4AAC-92C8-88CA7825C3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72345" y="3672800"/>
            <a:ext cx="5556600" cy="2777867"/>
          </a:xfr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74378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s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9967407B-AB79-BF48-B4D2-804FFA8F838F}"/>
              </a:ext>
            </a:extLst>
          </p:cNvPr>
          <p:cNvSpPr/>
          <p:nvPr userDrawn="1"/>
        </p:nvSpPr>
        <p:spPr>
          <a:xfrm>
            <a:off x="518999" y="1164778"/>
            <a:ext cx="6203270" cy="584781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E9B7D6CB-CE1D-7948-B001-12FC89A19802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780063" y="2471792"/>
            <a:ext cx="5632637" cy="4156825"/>
          </a:xfrm>
        </p:spPr>
        <p:txBody>
          <a:bodyPr>
            <a:noAutofit/>
          </a:bodyPr>
          <a:lstStyle>
            <a:lvl1pPr>
              <a:defRPr sz="1985">
                <a:solidFill>
                  <a:schemeClr val="bg1"/>
                </a:solidFill>
              </a:defRPr>
            </a:lvl1pPr>
            <a:lvl2pPr>
              <a:defRPr sz="1764">
                <a:solidFill>
                  <a:schemeClr val="bg1"/>
                </a:solidFill>
              </a:defRPr>
            </a:lvl2pPr>
            <a:lvl3pPr>
              <a:defRPr sz="1544">
                <a:solidFill>
                  <a:schemeClr val="bg1"/>
                </a:solidFill>
              </a:defRPr>
            </a:lvl3pPr>
            <a:lvl4pPr>
              <a:defRPr sz="1323">
                <a:solidFill>
                  <a:schemeClr val="bg1"/>
                </a:solidFill>
              </a:defRPr>
            </a:lvl4pPr>
            <a:lvl5pPr>
              <a:defRPr sz="1323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BBAA284-2DC4-5448-851A-BECB3A82EB21}"/>
              </a:ext>
            </a:extLst>
          </p:cNvPr>
          <p:cNvSpPr/>
          <p:nvPr userDrawn="1"/>
        </p:nvSpPr>
        <p:spPr>
          <a:xfrm>
            <a:off x="6732585" y="1164778"/>
            <a:ext cx="6182675" cy="584781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0DDB42FC-A81D-A34A-AC79-D161521EDAF2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973020" y="2471792"/>
            <a:ext cx="5632637" cy="4156825"/>
          </a:xfrm>
        </p:spPr>
        <p:txBody>
          <a:bodyPr>
            <a:noAutofit/>
          </a:bodyPr>
          <a:lstStyle>
            <a:lvl1pPr>
              <a:defRPr sz="1985">
                <a:solidFill>
                  <a:schemeClr val="bg1"/>
                </a:solidFill>
              </a:defRPr>
            </a:lvl1pPr>
            <a:lvl2pPr>
              <a:defRPr sz="1764">
                <a:solidFill>
                  <a:schemeClr val="bg1"/>
                </a:solidFill>
              </a:defRPr>
            </a:lvl2pPr>
            <a:lvl3pPr>
              <a:defRPr sz="1544">
                <a:solidFill>
                  <a:schemeClr val="bg1"/>
                </a:solidFill>
              </a:defRPr>
            </a:lvl3pPr>
            <a:lvl4pPr>
              <a:defRPr sz="1323">
                <a:solidFill>
                  <a:schemeClr val="bg1"/>
                </a:solidFill>
              </a:defRPr>
            </a:lvl4pPr>
            <a:lvl5pPr>
              <a:defRPr sz="1323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4D901BB-7C1D-5043-9981-F3F20FA25B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68506" y="1418248"/>
            <a:ext cx="5662293" cy="850607"/>
          </a:xfrm>
        </p:spPr>
        <p:txBody>
          <a:bodyPr>
            <a:normAutofit/>
          </a:bodyPr>
          <a:lstStyle>
            <a:lvl1pPr marL="0" indent="0">
              <a:buNone/>
              <a:defRPr sz="2646" b="1" i="0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DEBB4DD-D30B-1042-9EC5-66EECF85E6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0407" y="1418248"/>
            <a:ext cx="5662293" cy="850607"/>
          </a:xfrm>
        </p:spPr>
        <p:txBody>
          <a:bodyPr>
            <a:normAutofit/>
          </a:bodyPr>
          <a:lstStyle>
            <a:lvl1pPr marL="0" indent="0">
              <a:buNone/>
              <a:defRPr sz="2646" b="1" i="0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282370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9967407B-AB79-BF48-B4D2-804FFA8F838F}"/>
              </a:ext>
            </a:extLst>
          </p:cNvPr>
          <p:cNvSpPr/>
          <p:nvPr userDrawn="1"/>
        </p:nvSpPr>
        <p:spPr>
          <a:xfrm>
            <a:off x="-20628" y="2199539"/>
            <a:ext cx="6742897" cy="32087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E9B7D6CB-CE1D-7948-B001-12FC89A19802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858162" y="3406026"/>
            <a:ext cx="5554538" cy="1635875"/>
          </a:xfrm>
        </p:spPr>
        <p:txBody>
          <a:bodyPr>
            <a:noAutofit/>
          </a:bodyPr>
          <a:lstStyle>
            <a:lvl1pPr>
              <a:defRPr sz="1985">
                <a:solidFill>
                  <a:schemeClr val="bg1"/>
                </a:solidFill>
              </a:defRPr>
            </a:lvl1pPr>
            <a:lvl2pPr>
              <a:defRPr sz="1764">
                <a:solidFill>
                  <a:schemeClr val="bg1"/>
                </a:solidFill>
              </a:defRPr>
            </a:lvl2pPr>
            <a:lvl3pPr>
              <a:defRPr sz="1544">
                <a:solidFill>
                  <a:schemeClr val="bg1"/>
                </a:solidFill>
              </a:defRPr>
            </a:lvl3pPr>
            <a:lvl4pPr>
              <a:defRPr sz="1323">
                <a:solidFill>
                  <a:schemeClr val="bg1"/>
                </a:solidFill>
              </a:defRPr>
            </a:lvl4pPr>
            <a:lvl5pPr>
              <a:defRPr sz="1323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BBAA284-2DC4-5448-851A-BECB3A82EB21}"/>
              </a:ext>
            </a:extLst>
          </p:cNvPr>
          <p:cNvSpPr/>
          <p:nvPr userDrawn="1"/>
        </p:nvSpPr>
        <p:spPr>
          <a:xfrm>
            <a:off x="6722270" y="2199539"/>
            <a:ext cx="6722268" cy="32087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0DDB42FC-A81D-A34A-AC79-D161521EDAF2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977012" y="3406025"/>
            <a:ext cx="5632637" cy="1635875"/>
          </a:xfrm>
        </p:spPr>
        <p:txBody>
          <a:bodyPr>
            <a:noAutofit/>
          </a:bodyPr>
          <a:lstStyle>
            <a:lvl1pPr>
              <a:defRPr sz="1985">
                <a:solidFill>
                  <a:schemeClr val="bg1"/>
                </a:solidFill>
              </a:defRPr>
            </a:lvl1pPr>
            <a:lvl2pPr>
              <a:defRPr sz="1764">
                <a:solidFill>
                  <a:schemeClr val="bg1"/>
                </a:solidFill>
              </a:defRPr>
            </a:lvl2pPr>
            <a:lvl3pPr>
              <a:defRPr sz="1544">
                <a:solidFill>
                  <a:schemeClr val="bg1"/>
                </a:solidFill>
              </a:defRPr>
            </a:lvl3pPr>
            <a:lvl4pPr>
              <a:defRPr sz="1323">
                <a:solidFill>
                  <a:schemeClr val="bg1"/>
                </a:solidFill>
              </a:defRPr>
            </a:lvl4pPr>
            <a:lvl5pPr>
              <a:defRPr sz="1323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4D901BB-7C1D-5043-9981-F3F20FA25B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77012" y="2499912"/>
            <a:ext cx="5632637" cy="783188"/>
          </a:xfrm>
        </p:spPr>
        <p:txBody>
          <a:bodyPr anchor="b">
            <a:normAutofit/>
          </a:bodyPr>
          <a:lstStyle>
            <a:lvl1pPr marL="0" indent="0">
              <a:buNone/>
              <a:defRPr sz="2646" b="1" i="0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DEBB4DD-D30B-1042-9EC5-66EECF85E6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58162" y="2499912"/>
            <a:ext cx="5554537" cy="783188"/>
          </a:xfrm>
        </p:spPr>
        <p:txBody>
          <a:bodyPr anchor="b">
            <a:normAutofit/>
          </a:bodyPr>
          <a:lstStyle>
            <a:lvl1pPr marL="0" indent="0">
              <a:buNone/>
              <a:defRPr sz="2646" b="1" i="0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665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9967407B-AB79-BF48-B4D2-804FFA8F838F}"/>
              </a:ext>
            </a:extLst>
          </p:cNvPr>
          <p:cNvSpPr/>
          <p:nvPr userDrawn="1"/>
        </p:nvSpPr>
        <p:spPr>
          <a:xfrm>
            <a:off x="521964" y="1167432"/>
            <a:ext cx="6200305" cy="587936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E9B7D6CB-CE1D-7948-B001-12FC89A19802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858162" y="2373919"/>
            <a:ext cx="5554538" cy="1635875"/>
          </a:xfrm>
        </p:spPr>
        <p:txBody>
          <a:bodyPr>
            <a:noAutofit/>
          </a:bodyPr>
          <a:lstStyle>
            <a:lvl1pPr>
              <a:defRPr sz="1985">
                <a:solidFill>
                  <a:schemeClr val="bg1"/>
                </a:solidFill>
              </a:defRPr>
            </a:lvl1pPr>
            <a:lvl2pPr>
              <a:defRPr sz="1764">
                <a:solidFill>
                  <a:schemeClr val="bg1"/>
                </a:solidFill>
              </a:defRPr>
            </a:lvl2pPr>
            <a:lvl3pPr>
              <a:defRPr sz="1544">
                <a:solidFill>
                  <a:schemeClr val="bg1"/>
                </a:solidFill>
              </a:defRPr>
            </a:lvl3pPr>
            <a:lvl4pPr>
              <a:defRPr sz="1323">
                <a:solidFill>
                  <a:schemeClr val="bg1"/>
                </a:solidFill>
              </a:defRPr>
            </a:lvl4pPr>
            <a:lvl5pPr>
              <a:defRPr sz="1323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BBAA284-2DC4-5448-851A-BECB3A82EB21}"/>
              </a:ext>
            </a:extLst>
          </p:cNvPr>
          <p:cNvSpPr/>
          <p:nvPr userDrawn="1"/>
        </p:nvSpPr>
        <p:spPr>
          <a:xfrm>
            <a:off x="6722270" y="1167432"/>
            <a:ext cx="6200305" cy="58793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0DDB42FC-A81D-A34A-AC79-D161521EDAF2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977012" y="2373918"/>
            <a:ext cx="5632637" cy="1635875"/>
          </a:xfrm>
        </p:spPr>
        <p:txBody>
          <a:bodyPr>
            <a:noAutofit/>
          </a:bodyPr>
          <a:lstStyle>
            <a:lvl1pPr>
              <a:defRPr sz="1985">
                <a:solidFill>
                  <a:schemeClr val="bg1"/>
                </a:solidFill>
              </a:defRPr>
            </a:lvl1pPr>
            <a:lvl2pPr>
              <a:defRPr sz="1764">
                <a:solidFill>
                  <a:schemeClr val="bg1"/>
                </a:solidFill>
              </a:defRPr>
            </a:lvl2pPr>
            <a:lvl3pPr>
              <a:defRPr sz="1544">
                <a:solidFill>
                  <a:schemeClr val="bg1"/>
                </a:solidFill>
              </a:defRPr>
            </a:lvl3pPr>
            <a:lvl4pPr>
              <a:defRPr sz="1323">
                <a:solidFill>
                  <a:schemeClr val="bg1"/>
                </a:solidFill>
              </a:defRPr>
            </a:lvl4pPr>
            <a:lvl5pPr>
              <a:defRPr sz="1323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4D901BB-7C1D-5043-9981-F3F20FA25B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77012" y="1467806"/>
            <a:ext cx="5632637" cy="783188"/>
          </a:xfrm>
        </p:spPr>
        <p:txBody>
          <a:bodyPr anchor="b">
            <a:normAutofit/>
          </a:bodyPr>
          <a:lstStyle>
            <a:lvl1pPr marL="0" indent="0">
              <a:buNone/>
              <a:defRPr sz="2646" b="1" i="0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DEBB4DD-D30B-1042-9EC5-66EECF85E6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58162" y="1467806"/>
            <a:ext cx="5554537" cy="783188"/>
          </a:xfrm>
        </p:spPr>
        <p:txBody>
          <a:bodyPr anchor="b">
            <a:normAutofit/>
          </a:bodyPr>
          <a:lstStyle>
            <a:lvl1pPr marL="0" indent="0">
              <a:buNone/>
              <a:defRPr sz="2646" b="1" i="0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23363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s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D37052DF-E284-834E-AEB5-701FCCB09D81}"/>
              </a:ext>
            </a:extLst>
          </p:cNvPr>
          <p:cNvSpPr/>
          <p:nvPr userDrawn="1"/>
        </p:nvSpPr>
        <p:spPr>
          <a:xfrm>
            <a:off x="509124" y="1164779"/>
            <a:ext cx="4142097" cy="584939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57A1291-309F-A448-8805-666143971B5E}"/>
              </a:ext>
            </a:extLst>
          </p:cNvPr>
          <p:cNvSpPr/>
          <p:nvPr userDrawn="1"/>
        </p:nvSpPr>
        <p:spPr>
          <a:xfrm>
            <a:off x="4651222" y="1164779"/>
            <a:ext cx="4142097" cy="58493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D886BA1-4137-0340-980C-3328677D85AD}"/>
              </a:ext>
            </a:extLst>
          </p:cNvPr>
          <p:cNvSpPr/>
          <p:nvPr userDrawn="1"/>
        </p:nvSpPr>
        <p:spPr>
          <a:xfrm>
            <a:off x="8793318" y="1164779"/>
            <a:ext cx="4142097" cy="58493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5F336436-205A-1E4F-90FB-C56503248A0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750407" y="2471792"/>
            <a:ext cx="3547263" cy="4156825"/>
          </a:xfrm>
        </p:spPr>
        <p:txBody>
          <a:bodyPr>
            <a:noAutofit/>
          </a:bodyPr>
          <a:lstStyle>
            <a:lvl1pPr>
              <a:defRPr sz="1985">
                <a:solidFill>
                  <a:schemeClr val="bg1"/>
                </a:solidFill>
              </a:defRPr>
            </a:lvl1pPr>
            <a:lvl2pPr>
              <a:defRPr sz="1764">
                <a:solidFill>
                  <a:schemeClr val="bg1"/>
                </a:solidFill>
              </a:defRPr>
            </a:lvl2pPr>
            <a:lvl3pPr>
              <a:defRPr sz="1544">
                <a:solidFill>
                  <a:schemeClr val="bg1"/>
                </a:solidFill>
              </a:defRPr>
            </a:lvl3pPr>
            <a:lvl4pPr>
              <a:defRPr sz="1323">
                <a:solidFill>
                  <a:schemeClr val="bg1"/>
                </a:solidFill>
              </a:defRPr>
            </a:lvl4pPr>
            <a:lvl5pPr>
              <a:defRPr sz="1323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C698417A-AD02-8E4B-BC24-5B910469B87F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902395" y="2471792"/>
            <a:ext cx="3547263" cy="4156825"/>
          </a:xfrm>
        </p:spPr>
        <p:txBody>
          <a:bodyPr>
            <a:noAutofit/>
          </a:bodyPr>
          <a:lstStyle>
            <a:lvl1pPr>
              <a:defRPr sz="1985">
                <a:solidFill>
                  <a:schemeClr val="bg1"/>
                </a:solidFill>
              </a:defRPr>
            </a:lvl1pPr>
            <a:lvl2pPr>
              <a:defRPr sz="1764">
                <a:solidFill>
                  <a:schemeClr val="bg1"/>
                </a:solidFill>
              </a:defRPr>
            </a:lvl2pPr>
            <a:lvl3pPr>
              <a:defRPr sz="1544">
                <a:solidFill>
                  <a:schemeClr val="bg1"/>
                </a:solidFill>
              </a:defRPr>
            </a:lvl3pPr>
            <a:lvl4pPr>
              <a:defRPr sz="1323">
                <a:solidFill>
                  <a:schemeClr val="bg1"/>
                </a:solidFill>
              </a:defRPr>
            </a:lvl4pPr>
            <a:lvl5pPr>
              <a:defRPr sz="1323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A64EBD6-5EDD-634E-9C0A-10C7B4A4B3F5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9023072" y="2471792"/>
            <a:ext cx="3578575" cy="4156825"/>
          </a:xfrm>
        </p:spPr>
        <p:txBody>
          <a:bodyPr>
            <a:noAutofit/>
          </a:bodyPr>
          <a:lstStyle>
            <a:lvl1pPr>
              <a:defRPr sz="1985">
                <a:solidFill>
                  <a:schemeClr val="bg1"/>
                </a:solidFill>
              </a:defRPr>
            </a:lvl1pPr>
            <a:lvl2pPr>
              <a:defRPr sz="1764">
                <a:solidFill>
                  <a:schemeClr val="bg1"/>
                </a:solidFill>
              </a:defRPr>
            </a:lvl2pPr>
            <a:lvl3pPr>
              <a:defRPr sz="1544">
                <a:solidFill>
                  <a:schemeClr val="bg1"/>
                </a:solidFill>
              </a:defRPr>
            </a:lvl3pPr>
            <a:lvl4pPr>
              <a:defRPr sz="1323">
                <a:solidFill>
                  <a:schemeClr val="bg1"/>
                </a:solidFill>
              </a:defRPr>
            </a:lvl4pPr>
            <a:lvl5pPr>
              <a:defRPr sz="1323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5B5FDF-704F-434E-AA3B-4EB73352DE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0407" y="1418248"/>
            <a:ext cx="3547263" cy="850607"/>
          </a:xfrm>
        </p:spPr>
        <p:txBody>
          <a:bodyPr anchor="t">
            <a:normAutofit/>
          </a:bodyPr>
          <a:lstStyle>
            <a:lvl1pPr marL="0" indent="0">
              <a:buNone/>
              <a:defRPr sz="2646" b="1" i="0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6DE836A-2232-2F41-993C-83F4968C12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95807" y="1418248"/>
            <a:ext cx="3547263" cy="850607"/>
          </a:xfrm>
        </p:spPr>
        <p:txBody>
          <a:bodyPr anchor="t">
            <a:normAutofit/>
          </a:bodyPr>
          <a:lstStyle>
            <a:lvl1pPr marL="0" indent="0">
              <a:buNone/>
              <a:defRPr sz="2646" b="1" i="0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528C85C-13CA-3348-91FE-64F5E31C38A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037904" y="1418248"/>
            <a:ext cx="3578575" cy="850607"/>
          </a:xfrm>
        </p:spPr>
        <p:txBody>
          <a:bodyPr anchor="t">
            <a:normAutofit/>
          </a:bodyPr>
          <a:lstStyle>
            <a:lvl1pPr marL="0" indent="0">
              <a:buNone/>
              <a:defRPr sz="2646" b="1" i="0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8053197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on Grey"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210124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rodu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38">
            <a:extLst>
              <a:ext uri="{FF2B5EF4-FFF2-40B4-BE49-F238E27FC236}">
                <a16:creationId xmlns:a16="http://schemas.microsoft.com/office/drawing/2014/main" id="{859591D9-AEA3-C349-9349-4307EC17724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789291" y="0"/>
            <a:ext cx="3655247" cy="3579799"/>
            <a:chOff x="8433710" y="8224"/>
            <a:chExt cx="2258292" cy="2211591"/>
          </a:xfrm>
        </p:grpSpPr>
        <p:sp>
          <p:nvSpPr>
            <p:cNvPr id="6" name="object 18">
              <a:extLst>
                <a:ext uri="{FF2B5EF4-FFF2-40B4-BE49-F238E27FC236}">
                  <a16:creationId xmlns:a16="http://schemas.microsoft.com/office/drawing/2014/main" id="{BAC2E5BA-FD9F-B24B-87F5-552D73025FA1}"/>
                </a:ext>
              </a:extLst>
            </p:cNvPr>
            <p:cNvSpPr/>
            <p:nvPr userDrawn="1"/>
          </p:nvSpPr>
          <p:spPr>
            <a:xfrm>
              <a:off x="8841302" y="8224"/>
              <a:ext cx="1850700" cy="1879600"/>
            </a:xfrm>
            <a:prstGeom prst="rect">
              <a:avLst/>
            </a:prstGeom>
            <a:blipFill dpi="0" rotWithShape="1">
              <a:blip r:embed="rId2" cstate="print"/>
              <a:srcRect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7" name="object 19">
              <a:extLst>
                <a:ext uri="{FF2B5EF4-FFF2-40B4-BE49-F238E27FC236}">
                  <a16:creationId xmlns:a16="http://schemas.microsoft.com/office/drawing/2014/main" id="{A170098C-D3CA-2249-872D-1FCA5E3188DC}"/>
                </a:ext>
              </a:extLst>
            </p:cNvPr>
            <p:cNvSpPr/>
            <p:nvPr userDrawn="1"/>
          </p:nvSpPr>
          <p:spPr>
            <a:xfrm>
              <a:off x="9876950" y="1995025"/>
              <a:ext cx="269240" cy="224790"/>
            </a:xfrm>
            <a:custGeom>
              <a:avLst/>
              <a:gdLst/>
              <a:ahLst/>
              <a:cxnLst/>
              <a:rect l="l" t="t" r="r" b="b"/>
              <a:pathLst>
                <a:path w="269240" h="224789">
                  <a:moveTo>
                    <a:pt x="99948" y="154305"/>
                  </a:moveTo>
                  <a:lnTo>
                    <a:pt x="0" y="154305"/>
                  </a:lnTo>
                  <a:lnTo>
                    <a:pt x="714" y="165343"/>
                  </a:lnTo>
                  <a:lnTo>
                    <a:pt x="25514" y="203519"/>
                  </a:lnTo>
                  <a:lnTo>
                    <a:pt x="63358" y="218921"/>
                  </a:lnTo>
                  <a:lnTo>
                    <a:pt x="109940" y="224169"/>
                  </a:lnTo>
                  <a:lnTo>
                    <a:pt x="133718" y="224764"/>
                  </a:lnTo>
                  <a:lnTo>
                    <a:pt x="166380" y="223658"/>
                  </a:lnTo>
                  <a:lnTo>
                    <a:pt x="217723" y="214563"/>
                  </a:lnTo>
                  <a:lnTo>
                    <a:pt x="260638" y="183154"/>
                  </a:lnTo>
                  <a:lnTo>
                    <a:pt x="264376" y="173545"/>
                  </a:lnTo>
                  <a:lnTo>
                    <a:pt x="136982" y="173545"/>
                  </a:lnTo>
                  <a:lnTo>
                    <a:pt x="127975" y="173296"/>
                  </a:lnTo>
                  <a:lnTo>
                    <a:pt x="100279" y="161086"/>
                  </a:lnTo>
                  <a:lnTo>
                    <a:pt x="99948" y="154305"/>
                  </a:lnTo>
                  <a:close/>
                </a:path>
                <a:path w="269240" h="224789">
                  <a:moveTo>
                    <a:pt x="124371" y="0"/>
                  </a:moveTo>
                  <a:lnTo>
                    <a:pt x="76619" y="3175"/>
                  </a:lnTo>
                  <a:lnTo>
                    <a:pt x="37909" y="13817"/>
                  </a:lnTo>
                  <a:lnTo>
                    <a:pt x="8183" y="42675"/>
                  </a:lnTo>
                  <a:lnTo>
                    <a:pt x="2755" y="76530"/>
                  </a:lnTo>
                  <a:lnTo>
                    <a:pt x="3962" y="83858"/>
                  </a:lnTo>
                  <a:lnTo>
                    <a:pt x="6146" y="90017"/>
                  </a:lnTo>
                  <a:lnTo>
                    <a:pt x="8064" y="96608"/>
                  </a:lnTo>
                  <a:lnTo>
                    <a:pt x="39744" y="123062"/>
                  </a:lnTo>
                  <a:lnTo>
                    <a:pt x="160705" y="143573"/>
                  </a:lnTo>
                  <a:lnTo>
                    <a:pt x="164668" y="145389"/>
                  </a:lnTo>
                  <a:lnTo>
                    <a:pt x="166852" y="148005"/>
                  </a:lnTo>
                  <a:lnTo>
                    <a:pt x="169062" y="150431"/>
                  </a:lnTo>
                  <a:lnTo>
                    <a:pt x="169900" y="153606"/>
                  </a:lnTo>
                  <a:lnTo>
                    <a:pt x="169900" y="161823"/>
                  </a:lnTo>
                  <a:lnTo>
                    <a:pt x="167843" y="165849"/>
                  </a:lnTo>
                  <a:lnTo>
                    <a:pt x="136982" y="173545"/>
                  </a:lnTo>
                  <a:lnTo>
                    <a:pt x="264376" y="173545"/>
                  </a:lnTo>
                  <a:lnTo>
                    <a:pt x="266709" y="167549"/>
                  </a:lnTo>
                  <a:lnTo>
                    <a:pt x="268608" y="150431"/>
                  </a:lnTo>
                  <a:lnTo>
                    <a:pt x="268620" y="148005"/>
                  </a:lnTo>
                  <a:lnTo>
                    <a:pt x="267656" y="136749"/>
                  </a:lnTo>
                  <a:lnTo>
                    <a:pt x="241071" y="101173"/>
                  </a:lnTo>
                  <a:lnTo>
                    <a:pt x="201269" y="88252"/>
                  </a:lnTo>
                  <a:lnTo>
                    <a:pt x="101904" y="73774"/>
                  </a:lnTo>
                  <a:lnTo>
                    <a:pt x="97904" y="73075"/>
                  </a:lnTo>
                  <a:lnTo>
                    <a:pt x="94995" y="71996"/>
                  </a:lnTo>
                  <a:lnTo>
                    <a:pt x="93281" y="70040"/>
                  </a:lnTo>
                  <a:lnTo>
                    <a:pt x="91922" y="68313"/>
                  </a:lnTo>
                  <a:lnTo>
                    <a:pt x="91033" y="65544"/>
                  </a:lnTo>
                  <a:lnTo>
                    <a:pt x="91033" y="58369"/>
                  </a:lnTo>
                  <a:lnTo>
                    <a:pt x="124371" y="47764"/>
                  </a:lnTo>
                  <a:lnTo>
                    <a:pt x="254472" y="47764"/>
                  </a:lnTo>
                  <a:lnTo>
                    <a:pt x="253790" y="45940"/>
                  </a:lnTo>
                  <a:lnTo>
                    <a:pt x="225882" y="17780"/>
                  </a:lnTo>
                  <a:lnTo>
                    <a:pt x="184365" y="4660"/>
                  </a:lnTo>
                  <a:lnTo>
                    <a:pt x="141231" y="288"/>
                  </a:lnTo>
                  <a:lnTo>
                    <a:pt x="124371" y="0"/>
                  </a:lnTo>
                  <a:close/>
                </a:path>
                <a:path w="269240" h="224789">
                  <a:moveTo>
                    <a:pt x="254472" y="47764"/>
                  </a:moveTo>
                  <a:lnTo>
                    <a:pt x="128993" y="47764"/>
                  </a:lnTo>
                  <a:lnTo>
                    <a:pt x="133426" y="48234"/>
                  </a:lnTo>
                  <a:lnTo>
                    <a:pt x="137871" y="48653"/>
                  </a:lnTo>
                  <a:lnTo>
                    <a:pt x="142481" y="49441"/>
                  </a:lnTo>
                  <a:lnTo>
                    <a:pt x="146735" y="50660"/>
                  </a:lnTo>
                  <a:lnTo>
                    <a:pt x="154266" y="53594"/>
                  </a:lnTo>
                  <a:lnTo>
                    <a:pt x="157391" y="56070"/>
                  </a:lnTo>
                  <a:lnTo>
                    <a:pt x="159486" y="58635"/>
                  </a:lnTo>
                  <a:lnTo>
                    <a:pt x="161683" y="61125"/>
                  </a:lnTo>
                  <a:lnTo>
                    <a:pt x="163029" y="64668"/>
                  </a:lnTo>
                  <a:lnTo>
                    <a:pt x="163029" y="68961"/>
                  </a:lnTo>
                  <a:lnTo>
                    <a:pt x="259219" y="68961"/>
                  </a:lnTo>
                  <a:lnTo>
                    <a:pt x="258276" y="60749"/>
                  </a:lnTo>
                  <a:lnTo>
                    <a:pt x="256457" y="53073"/>
                  </a:lnTo>
                  <a:lnTo>
                    <a:pt x="254472" y="47764"/>
                  </a:lnTo>
                  <a:close/>
                </a:path>
              </a:pathLst>
            </a:custGeom>
            <a:solidFill>
              <a:srgbClr val="A4B4D9">
                <a:alpha val="18000"/>
              </a:srgbClr>
            </a:solidFill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8" name="object 20">
              <a:extLst>
                <a:ext uri="{FF2B5EF4-FFF2-40B4-BE49-F238E27FC236}">
                  <a16:creationId xmlns:a16="http://schemas.microsoft.com/office/drawing/2014/main" id="{4AB03A71-F0CE-4B48-9F95-05B40E3A78EF}"/>
                </a:ext>
              </a:extLst>
            </p:cNvPr>
            <p:cNvSpPr/>
            <p:nvPr userDrawn="1"/>
          </p:nvSpPr>
          <p:spPr>
            <a:xfrm>
              <a:off x="8433710" y="589748"/>
              <a:ext cx="343535" cy="210185"/>
            </a:xfrm>
            <a:custGeom>
              <a:avLst/>
              <a:gdLst/>
              <a:ahLst/>
              <a:cxnLst/>
              <a:rect l="l" t="t" r="r" b="b"/>
              <a:pathLst>
                <a:path w="343534" h="210184">
                  <a:moveTo>
                    <a:pt x="80213" y="0"/>
                  </a:moveTo>
                  <a:lnTo>
                    <a:pt x="0" y="0"/>
                  </a:lnTo>
                  <a:lnTo>
                    <a:pt x="61023" y="210108"/>
                  </a:lnTo>
                  <a:lnTo>
                    <a:pt x="142506" y="210108"/>
                  </a:lnTo>
                  <a:lnTo>
                    <a:pt x="162836" y="128130"/>
                  </a:lnTo>
                  <a:lnTo>
                    <a:pt x="107340" y="128130"/>
                  </a:lnTo>
                  <a:lnTo>
                    <a:pt x="80213" y="0"/>
                  </a:lnTo>
                  <a:close/>
                </a:path>
                <a:path w="343534" h="210184">
                  <a:moveTo>
                    <a:pt x="227292" y="93446"/>
                  </a:moveTo>
                  <a:lnTo>
                    <a:pt x="171919" y="93446"/>
                  </a:lnTo>
                  <a:lnTo>
                    <a:pt x="200571" y="210108"/>
                  </a:lnTo>
                  <a:lnTo>
                    <a:pt x="282003" y="210108"/>
                  </a:lnTo>
                  <a:lnTo>
                    <a:pt x="305956" y="128130"/>
                  </a:lnTo>
                  <a:lnTo>
                    <a:pt x="235597" y="128130"/>
                  </a:lnTo>
                  <a:lnTo>
                    <a:pt x="227292" y="93446"/>
                  </a:lnTo>
                  <a:close/>
                </a:path>
                <a:path w="343534" h="210184">
                  <a:moveTo>
                    <a:pt x="204914" y="0"/>
                  </a:moveTo>
                  <a:lnTo>
                    <a:pt x="138620" y="0"/>
                  </a:lnTo>
                  <a:lnTo>
                    <a:pt x="107810" y="128130"/>
                  </a:lnTo>
                  <a:lnTo>
                    <a:pt x="162836" y="128130"/>
                  </a:lnTo>
                  <a:lnTo>
                    <a:pt x="171437" y="93446"/>
                  </a:lnTo>
                  <a:lnTo>
                    <a:pt x="227292" y="93446"/>
                  </a:lnTo>
                  <a:lnTo>
                    <a:pt x="204914" y="0"/>
                  </a:lnTo>
                  <a:close/>
                </a:path>
                <a:path w="343534" h="210184">
                  <a:moveTo>
                    <a:pt x="343395" y="0"/>
                  </a:moveTo>
                  <a:lnTo>
                    <a:pt x="263283" y="0"/>
                  </a:lnTo>
                  <a:lnTo>
                    <a:pt x="236194" y="128130"/>
                  </a:lnTo>
                  <a:lnTo>
                    <a:pt x="305956" y="128130"/>
                  </a:lnTo>
                  <a:lnTo>
                    <a:pt x="343395" y="0"/>
                  </a:lnTo>
                  <a:close/>
                </a:path>
              </a:pathLst>
            </a:custGeom>
            <a:solidFill>
              <a:srgbClr val="A4B4D9">
                <a:alpha val="18000"/>
              </a:srgbClr>
            </a:solidFill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57A61C70-9B83-D747-B71A-CBD71B2A3796}"/>
              </a:ext>
            </a:extLst>
          </p:cNvPr>
          <p:cNvSpPr/>
          <p:nvPr userDrawn="1"/>
        </p:nvSpPr>
        <p:spPr>
          <a:xfrm>
            <a:off x="603814" y="4171494"/>
            <a:ext cx="1905525" cy="158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8B2968E-66FA-8248-8205-4D1BD9989988}"/>
              </a:ext>
            </a:extLst>
          </p:cNvPr>
          <p:cNvSpPr/>
          <p:nvPr userDrawn="1"/>
        </p:nvSpPr>
        <p:spPr>
          <a:xfrm>
            <a:off x="2672271" y="4171494"/>
            <a:ext cx="1905525" cy="158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6A12958-BBF0-C047-874A-4FD33987DFB2}"/>
              </a:ext>
            </a:extLst>
          </p:cNvPr>
          <p:cNvSpPr/>
          <p:nvPr userDrawn="1"/>
        </p:nvSpPr>
        <p:spPr>
          <a:xfrm>
            <a:off x="4737968" y="4171494"/>
            <a:ext cx="1905525" cy="158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3CEEB5-D177-F748-A0FE-B568C3202018}"/>
              </a:ext>
            </a:extLst>
          </p:cNvPr>
          <p:cNvSpPr/>
          <p:nvPr userDrawn="1"/>
        </p:nvSpPr>
        <p:spPr>
          <a:xfrm>
            <a:off x="6805167" y="4171494"/>
            <a:ext cx="1905525" cy="158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EB5BB9E-0EE3-0649-B43F-3E178B1884DC}"/>
              </a:ext>
            </a:extLst>
          </p:cNvPr>
          <p:cNvSpPr/>
          <p:nvPr userDrawn="1"/>
        </p:nvSpPr>
        <p:spPr>
          <a:xfrm>
            <a:off x="8873432" y="4171494"/>
            <a:ext cx="1905525" cy="158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F6D948B-AF40-BF47-AC1B-6796D3FB5317}"/>
              </a:ext>
            </a:extLst>
          </p:cNvPr>
          <p:cNvSpPr/>
          <p:nvPr userDrawn="1"/>
        </p:nvSpPr>
        <p:spPr>
          <a:xfrm>
            <a:off x="10929833" y="4171494"/>
            <a:ext cx="1905525" cy="158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DD631715-62CB-D647-8DD2-D6A29508F1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979743" y="4171494"/>
            <a:ext cx="1556373" cy="1556434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3832AC03-A4DA-1F4A-A06F-61E97C06E42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9046969" y="4171494"/>
            <a:ext cx="1556373" cy="1556434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AA469B08-65F6-314E-A3E6-18A8E49AE25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1104409" y="4171494"/>
            <a:ext cx="1556373" cy="1556434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30BD75F0-C04B-B646-B298-B1A82BE31FE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2846847" y="4171494"/>
            <a:ext cx="1556373" cy="1556434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C31F28DD-1113-E949-886B-6CF88967C2B9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778390" y="4171494"/>
            <a:ext cx="1556373" cy="1556434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A88DCB35-AEAE-4C46-890C-EC9B827D3184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4912544" y="4171494"/>
            <a:ext cx="1556373" cy="1556434"/>
          </a:xfrm>
          <a:prstGeom prst="rect">
            <a:avLst/>
          </a:prstGeom>
        </p:spPr>
      </p:pic>
      <p:sp>
        <p:nvSpPr>
          <p:cNvPr id="30" name="Title 1">
            <a:extLst>
              <a:ext uri="{FF2B5EF4-FFF2-40B4-BE49-F238E27FC236}">
                <a16:creationId xmlns:a16="http://schemas.microsoft.com/office/drawing/2014/main" id="{32D1485E-9E91-744B-969C-CDC5CBDEA6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709" y="5848934"/>
            <a:ext cx="1905525" cy="587821"/>
          </a:xfrm>
        </p:spPr>
        <p:txBody>
          <a:bodyPr anchor="t">
            <a:noAutofit/>
          </a:bodyPr>
          <a:lstStyle>
            <a:lvl1pPr>
              <a:defRPr sz="1544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3AFD1773-13E2-2D40-83A4-B7BA6739DD33}"/>
              </a:ext>
            </a:extLst>
          </p:cNvPr>
          <p:cNvSpPr txBox="1">
            <a:spLocks/>
          </p:cNvSpPr>
          <p:nvPr userDrawn="1"/>
        </p:nvSpPr>
        <p:spPr>
          <a:xfrm>
            <a:off x="2685391" y="5848934"/>
            <a:ext cx="1905525" cy="587821"/>
          </a:xfrm>
          <a:prstGeom prst="rect">
            <a:avLst/>
          </a:prstGeom>
        </p:spPr>
        <p:txBody>
          <a:bodyPr vert="horz" lIns="100834" tIns="50417" rIns="100834" bIns="50417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r>
              <a:rPr lang="en-US" sz="1544" dirty="0">
                <a:solidFill>
                  <a:srgbClr val="004987"/>
                </a:solidFill>
              </a:rPr>
              <a:t>Click to edit Master title style</a:t>
            </a:r>
            <a:endParaRPr lang="ru-RU" sz="1544" dirty="0">
              <a:solidFill>
                <a:srgbClr val="004987"/>
              </a:solidFill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64D48B13-5711-554C-B7AA-4D7447DB8324}"/>
              </a:ext>
            </a:extLst>
          </p:cNvPr>
          <p:cNvSpPr txBox="1">
            <a:spLocks/>
          </p:cNvSpPr>
          <p:nvPr userDrawn="1"/>
        </p:nvSpPr>
        <p:spPr>
          <a:xfrm>
            <a:off x="4750077" y="5848934"/>
            <a:ext cx="1905525" cy="587821"/>
          </a:xfrm>
          <a:prstGeom prst="rect">
            <a:avLst/>
          </a:prstGeom>
        </p:spPr>
        <p:txBody>
          <a:bodyPr vert="horz" lIns="100834" tIns="50417" rIns="100834" bIns="50417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r>
              <a:rPr lang="en-US" sz="1544" dirty="0">
                <a:solidFill>
                  <a:srgbClr val="004987"/>
                </a:solidFill>
              </a:rPr>
              <a:t>Click to edit Master title style</a:t>
            </a:r>
            <a:endParaRPr lang="ru-RU" sz="1544" dirty="0">
              <a:solidFill>
                <a:srgbClr val="004987"/>
              </a:solidFill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6D75CD11-72CF-DE4C-AD3D-6F9B4C11D9B4}"/>
              </a:ext>
            </a:extLst>
          </p:cNvPr>
          <p:cNvSpPr txBox="1">
            <a:spLocks/>
          </p:cNvSpPr>
          <p:nvPr userDrawn="1"/>
        </p:nvSpPr>
        <p:spPr>
          <a:xfrm>
            <a:off x="6805167" y="5848934"/>
            <a:ext cx="1905525" cy="587821"/>
          </a:xfrm>
          <a:prstGeom prst="rect">
            <a:avLst/>
          </a:prstGeom>
        </p:spPr>
        <p:txBody>
          <a:bodyPr vert="horz" lIns="100834" tIns="50417" rIns="100834" bIns="50417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r>
              <a:rPr lang="en-US" sz="1544" dirty="0">
                <a:solidFill>
                  <a:srgbClr val="004987"/>
                </a:solidFill>
              </a:rPr>
              <a:t>Click to edit Master title style</a:t>
            </a:r>
            <a:endParaRPr lang="ru-RU" sz="1544" dirty="0">
              <a:solidFill>
                <a:srgbClr val="004987"/>
              </a:solidFill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ED1A45A6-8E7E-A941-9FE8-C543342C2894}"/>
              </a:ext>
            </a:extLst>
          </p:cNvPr>
          <p:cNvSpPr txBox="1">
            <a:spLocks/>
          </p:cNvSpPr>
          <p:nvPr userDrawn="1"/>
        </p:nvSpPr>
        <p:spPr>
          <a:xfrm>
            <a:off x="8866743" y="5848934"/>
            <a:ext cx="1905525" cy="587821"/>
          </a:xfrm>
          <a:prstGeom prst="rect">
            <a:avLst/>
          </a:prstGeom>
        </p:spPr>
        <p:txBody>
          <a:bodyPr vert="horz" lIns="100834" tIns="50417" rIns="100834" bIns="50417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r>
              <a:rPr lang="en-US" sz="1544" dirty="0">
                <a:solidFill>
                  <a:srgbClr val="004987"/>
                </a:solidFill>
              </a:rPr>
              <a:t>Click to edit Master title style</a:t>
            </a:r>
            <a:endParaRPr lang="ru-RU" sz="1544" dirty="0">
              <a:solidFill>
                <a:srgbClr val="004987"/>
              </a:solidFill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3956DD83-6C3A-8A40-AC75-B4C890DCCF51}"/>
              </a:ext>
            </a:extLst>
          </p:cNvPr>
          <p:cNvSpPr txBox="1">
            <a:spLocks/>
          </p:cNvSpPr>
          <p:nvPr userDrawn="1"/>
        </p:nvSpPr>
        <p:spPr>
          <a:xfrm>
            <a:off x="10931558" y="5848934"/>
            <a:ext cx="1905525" cy="587821"/>
          </a:xfrm>
          <a:prstGeom prst="rect">
            <a:avLst/>
          </a:prstGeom>
        </p:spPr>
        <p:txBody>
          <a:bodyPr vert="horz" lIns="100834" tIns="50417" rIns="100834" bIns="50417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r>
              <a:rPr lang="en-US" sz="1544" dirty="0">
                <a:solidFill>
                  <a:srgbClr val="004987"/>
                </a:solidFill>
              </a:rPr>
              <a:t>Click to edit Master title style</a:t>
            </a:r>
            <a:endParaRPr lang="ru-RU" sz="1544" dirty="0">
              <a:solidFill>
                <a:srgbClr val="004987"/>
              </a:solidFill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B05CF786-DC36-4851-AA4A-26ABBF74FC0E}"/>
              </a:ext>
            </a:extLst>
          </p:cNvPr>
          <p:cNvSpPr txBox="1">
            <a:spLocks/>
          </p:cNvSpPr>
          <p:nvPr userDrawn="1"/>
        </p:nvSpPr>
        <p:spPr>
          <a:xfrm>
            <a:off x="772345" y="1536676"/>
            <a:ext cx="8967942" cy="1302491"/>
          </a:xfrm>
          <a:prstGeom prst="rect">
            <a:avLst/>
          </a:prstGeom>
          <a:noFill/>
        </p:spPr>
        <p:txBody>
          <a:bodyPr vert="horz" lIns="0" tIns="50417" rIns="100834" bIns="50417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200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r>
              <a:rPr lang="en-US" sz="4631" dirty="0">
                <a:solidFill>
                  <a:srgbClr val="004987"/>
                </a:solidFill>
              </a:rPr>
              <a:t>Click to edit Master title style</a:t>
            </a:r>
            <a:endParaRPr lang="ru-RU" sz="4631" dirty="0">
              <a:solidFill>
                <a:srgbClr val="004987"/>
              </a:solidFill>
            </a:endParaRP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C13EB4D1-2F93-4378-885D-A943AF9FBB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2954" y="2944686"/>
            <a:ext cx="7924485" cy="622594"/>
          </a:xfr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accent2"/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554724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+ BG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EFA8F83-F4B5-4710-A37B-6AE06CBCD4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3444537" cy="756285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9EA6649-4A44-4A8F-A7DA-A48AEBF96798}"/>
              </a:ext>
            </a:extLst>
          </p:cNvPr>
          <p:cNvSpPr/>
          <p:nvPr userDrawn="1"/>
        </p:nvSpPr>
        <p:spPr>
          <a:xfrm>
            <a:off x="1" y="0"/>
            <a:ext cx="13444537" cy="756285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B35F3AC-1D85-4ED7-9A9B-AED993EF57F3}"/>
              </a:ext>
            </a:extLst>
          </p:cNvPr>
          <p:cNvSpPr/>
          <p:nvPr userDrawn="1"/>
        </p:nvSpPr>
        <p:spPr>
          <a:xfrm>
            <a:off x="518999" y="4411663"/>
            <a:ext cx="12406541" cy="2622831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>
                  <a:alpha val="74000"/>
                </a:srgbClr>
              </a:solidFill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654C340A-5A64-9A4B-BC7B-C2435778AD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86676" y="1344507"/>
            <a:ext cx="6743695" cy="2876838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defRPr sz="463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0196E1D2-2B06-124B-B328-57B1FA52A8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6677" y="4565721"/>
            <a:ext cx="6743694" cy="221283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bg2">
                    <a:lumMod val="10000"/>
                    <a:alpha val="85000"/>
                  </a:schemeClr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E4C5CF7-B5B0-464C-A15F-5C3E75782A6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786678" y="387823"/>
            <a:ext cx="1949172" cy="36968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EC0DB10-65C3-4912-B05E-ED30D98550C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444955"/>
            <a:ext cx="620939" cy="199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849087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roduct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0C72362A-C71C-4C3D-96C2-72AEE1317552}"/>
              </a:ext>
            </a:extLst>
          </p:cNvPr>
          <p:cNvSpPr/>
          <p:nvPr userDrawn="1"/>
        </p:nvSpPr>
        <p:spPr>
          <a:xfrm>
            <a:off x="6807091" y="1333961"/>
            <a:ext cx="1905525" cy="158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DEC34D4-7CBC-4B17-B00A-8AED456C3EC8}"/>
              </a:ext>
            </a:extLst>
          </p:cNvPr>
          <p:cNvSpPr/>
          <p:nvPr userDrawn="1"/>
        </p:nvSpPr>
        <p:spPr>
          <a:xfrm>
            <a:off x="8875548" y="1333961"/>
            <a:ext cx="1905525" cy="158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37F0AD5-96BD-4CB8-9530-F6673FBBA1BC}"/>
              </a:ext>
            </a:extLst>
          </p:cNvPr>
          <p:cNvSpPr/>
          <p:nvPr userDrawn="1"/>
        </p:nvSpPr>
        <p:spPr>
          <a:xfrm>
            <a:off x="10941245" y="1333961"/>
            <a:ext cx="1905525" cy="158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434C3BE-0F0F-46A1-9DAA-2E5EF0DF837C}"/>
              </a:ext>
            </a:extLst>
          </p:cNvPr>
          <p:cNvSpPr/>
          <p:nvPr userDrawn="1"/>
        </p:nvSpPr>
        <p:spPr>
          <a:xfrm>
            <a:off x="6805167" y="4171494"/>
            <a:ext cx="1905525" cy="158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86C7C77-93A2-4214-83F8-6378A030F48F}"/>
              </a:ext>
            </a:extLst>
          </p:cNvPr>
          <p:cNvSpPr/>
          <p:nvPr userDrawn="1"/>
        </p:nvSpPr>
        <p:spPr>
          <a:xfrm>
            <a:off x="8873432" y="4171494"/>
            <a:ext cx="1905525" cy="158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5FF72CE-16FA-4A30-916F-D97829EA28F2}"/>
              </a:ext>
            </a:extLst>
          </p:cNvPr>
          <p:cNvSpPr/>
          <p:nvPr userDrawn="1"/>
        </p:nvSpPr>
        <p:spPr>
          <a:xfrm>
            <a:off x="10929833" y="4171494"/>
            <a:ext cx="1905525" cy="158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>
              <a:solidFill>
                <a:srgbClr val="FFFFFF"/>
              </a:solidFill>
            </a:endParaRPr>
          </a:p>
        </p:txBody>
      </p:sp>
      <p:pic>
        <p:nvPicPr>
          <p:cNvPr id="39" name="Graphic 38">
            <a:extLst>
              <a:ext uri="{FF2B5EF4-FFF2-40B4-BE49-F238E27FC236}">
                <a16:creationId xmlns:a16="http://schemas.microsoft.com/office/drawing/2014/main" id="{1190A695-95F3-4DBE-849C-FB711754F4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979743" y="4171494"/>
            <a:ext cx="1556373" cy="1556434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0854B2BA-8AA8-4B70-AEE2-8A1C58AF0BD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9046969" y="4171494"/>
            <a:ext cx="1556373" cy="1556434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AE90C234-859D-4182-B973-2201873D9A2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1104409" y="4171494"/>
            <a:ext cx="1556373" cy="1556434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AFB88275-8ED1-42D4-979B-C6E46AEF499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9050124" y="1333961"/>
            <a:ext cx="1556373" cy="1556434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365ABAB5-4E05-4C80-B8A7-BFC89018B27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6981667" y="1333961"/>
            <a:ext cx="1556373" cy="1556434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AB9084B6-723D-497D-955A-6EAC4EF1CC3E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11115821" y="1333961"/>
            <a:ext cx="1556373" cy="1556434"/>
          </a:xfrm>
          <a:prstGeom prst="rect">
            <a:avLst/>
          </a:prstGeom>
        </p:spPr>
      </p:pic>
      <p:sp>
        <p:nvSpPr>
          <p:cNvPr id="45" name="Title 1">
            <a:extLst>
              <a:ext uri="{FF2B5EF4-FFF2-40B4-BE49-F238E27FC236}">
                <a16:creationId xmlns:a16="http://schemas.microsoft.com/office/drawing/2014/main" id="{D6125782-AA5B-458D-A7D2-71BF8B23EB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986" y="3011401"/>
            <a:ext cx="1905525" cy="587821"/>
          </a:xfrm>
        </p:spPr>
        <p:txBody>
          <a:bodyPr anchor="t">
            <a:noAutofit/>
          </a:bodyPr>
          <a:lstStyle>
            <a:lvl1pPr>
              <a:defRPr sz="1544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6" name="Title 1">
            <a:extLst>
              <a:ext uri="{FF2B5EF4-FFF2-40B4-BE49-F238E27FC236}">
                <a16:creationId xmlns:a16="http://schemas.microsoft.com/office/drawing/2014/main" id="{D0D9743B-8BC5-407F-B139-9C8154670BB3}"/>
              </a:ext>
            </a:extLst>
          </p:cNvPr>
          <p:cNvSpPr txBox="1">
            <a:spLocks/>
          </p:cNvSpPr>
          <p:nvPr userDrawn="1"/>
        </p:nvSpPr>
        <p:spPr>
          <a:xfrm>
            <a:off x="8888668" y="3011401"/>
            <a:ext cx="1905525" cy="587821"/>
          </a:xfrm>
          <a:prstGeom prst="rect">
            <a:avLst/>
          </a:prstGeom>
        </p:spPr>
        <p:txBody>
          <a:bodyPr vert="horz" lIns="100834" tIns="50417" rIns="100834" bIns="50417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r>
              <a:rPr lang="en-US" sz="1544" dirty="0">
                <a:solidFill>
                  <a:srgbClr val="004987"/>
                </a:solidFill>
              </a:rPr>
              <a:t>Click to edit Master title style</a:t>
            </a:r>
            <a:endParaRPr lang="ru-RU" sz="1544" dirty="0">
              <a:solidFill>
                <a:srgbClr val="004987"/>
              </a:solidFill>
            </a:endParaRPr>
          </a:p>
        </p:txBody>
      </p:sp>
      <p:sp>
        <p:nvSpPr>
          <p:cNvPr id="47" name="Title 1">
            <a:extLst>
              <a:ext uri="{FF2B5EF4-FFF2-40B4-BE49-F238E27FC236}">
                <a16:creationId xmlns:a16="http://schemas.microsoft.com/office/drawing/2014/main" id="{E987742A-1941-4091-874D-9028BE0D0B56}"/>
              </a:ext>
            </a:extLst>
          </p:cNvPr>
          <p:cNvSpPr txBox="1">
            <a:spLocks/>
          </p:cNvSpPr>
          <p:nvPr userDrawn="1"/>
        </p:nvSpPr>
        <p:spPr>
          <a:xfrm>
            <a:off x="10953354" y="3011401"/>
            <a:ext cx="1905525" cy="587821"/>
          </a:xfrm>
          <a:prstGeom prst="rect">
            <a:avLst/>
          </a:prstGeom>
        </p:spPr>
        <p:txBody>
          <a:bodyPr vert="horz" lIns="100834" tIns="50417" rIns="100834" bIns="50417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r>
              <a:rPr lang="en-US" sz="1544" dirty="0">
                <a:solidFill>
                  <a:srgbClr val="004987"/>
                </a:solidFill>
              </a:rPr>
              <a:t>Click to edit Master title style</a:t>
            </a:r>
            <a:endParaRPr lang="ru-RU" sz="1544" dirty="0">
              <a:solidFill>
                <a:srgbClr val="004987"/>
              </a:solidFill>
            </a:endParaRP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3E99A200-6450-4CF7-8B73-861D51C070EF}"/>
              </a:ext>
            </a:extLst>
          </p:cNvPr>
          <p:cNvSpPr txBox="1">
            <a:spLocks/>
          </p:cNvSpPr>
          <p:nvPr userDrawn="1"/>
        </p:nvSpPr>
        <p:spPr>
          <a:xfrm>
            <a:off x="6805167" y="5848934"/>
            <a:ext cx="1905525" cy="587821"/>
          </a:xfrm>
          <a:prstGeom prst="rect">
            <a:avLst/>
          </a:prstGeom>
        </p:spPr>
        <p:txBody>
          <a:bodyPr vert="horz" lIns="100834" tIns="50417" rIns="100834" bIns="50417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r>
              <a:rPr lang="en-US" sz="1544" dirty="0">
                <a:solidFill>
                  <a:srgbClr val="004987"/>
                </a:solidFill>
              </a:rPr>
              <a:t>Click to edit Master title style</a:t>
            </a:r>
            <a:endParaRPr lang="ru-RU" sz="1544" dirty="0">
              <a:solidFill>
                <a:srgbClr val="004987"/>
              </a:solidFill>
            </a:endParaRPr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5877009A-D7A6-4C36-BFAA-8404BD2DDEB6}"/>
              </a:ext>
            </a:extLst>
          </p:cNvPr>
          <p:cNvSpPr txBox="1">
            <a:spLocks/>
          </p:cNvSpPr>
          <p:nvPr userDrawn="1"/>
        </p:nvSpPr>
        <p:spPr>
          <a:xfrm>
            <a:off x="8866743" y="5848934"/>
            <a:ext cx="1905525" cy="587821"/>
          </a:xfrm>
          <a:prstGeom prst="rect">
            <a:avLst/>
          </a:prstGeom>
        </p:spPr>
        <p:txBody>
          <a:bodyPr vert="horz" lIns="100834" tIns="50417" rIns="100834" bIns="50417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r>
              <a:rPr lang="en-US" sz="1544" dirty="0">
                <a:solidFill>
                  <a:srgbClr val="004987"/>
                </a:solidFill>
              </a:rPr>
              <a:t>Click to edit Master title style</a:t>
            </a:r>
            <a:endParaRPr lang="ru-RU" sz="1544" dirty="0">
              <a:solidFill>
                <a:srgbClr val="004987"/>
              </a:solidFill>
            </a:endParaRPr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2258F92F-6B27-496B-B1B3-D7636DA2EF6D}"/>
              </a:ext>
            </a:extLst>
          </p:cNvPr>
          <p:cNvSpPr txBox="1">
            <a:spLocks/>
          </p:cNvSpPr>
          <p:nvPr userDrawn="1"/>
        </p:nvSpPr>
        <p:spPr>
          <a:xfrm>
            <a:off x="10931558" y="5848934"/>
            <a:ext cx="1905525" cy="587821"/>
          </a:xfrm>
          <a:prstGeom prst="rect">
            <a:avLst/>
          </a:prstGeom>
        </p:spPr>
        <p:txBody>
          <a:bodyPr vert="horz" lIns="100834" tIns="50417" rIns="100834" bIns="50417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r>
              <a:rPr lang="en-US" sz="1544" dirty="0">
                <a:solidFill>
                  <a:srgbClr val="004987"/>
                </a:solidFill>
              </a:rPr>
              <a:t>Click to edit Master title style</a:t>
            </a:r>
            <a:endParaRPr lang="ru-RU" sz="1544" dirty="0">
              <a:solidFill>
                <a:srgbClr val="004987"/>
              </a:solidFill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A8054E37-E98E-48FA-8F05-0CA4020A89F0}"/>
              </a:ext>
            </a:extLst>
          </p:cNvPr>
          <p:cNvSpPr txBox="1">
            <a:spLocks/>
          </p:cNvSpPr>
          <p:nvPr userDrawn="1"/>
        </p:nvSpPr>
        <p:spPr>
          <a:xfrm>
            <a:off x="772345" y="1536676"/>
            <a:ext cx="5556599" cy="1302491"/>
          </a:xfrm>
          <a:prstGeom prst="rect">
            <a:avLst/>
          </a:prstGeom>
          <a:noFill/>
        </p:spPr>
        <p:txBody>
          <a:bodyPr vert="horz" lIns="0" tIns="50417" rIns="100834" bIns="50417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200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r>
              <a:rPr lang="en-US" sz="4631">
                <a:solidFill>
                  <a:srgbClr val="004987"/>
                </a:solidFill>
              </a:rPr>
              <a:t>Click to edit Master title style</a:t>
            </a:r>
            <a:endParaRPr lang="ru-RU" sz="4631" dirty="0">
              <a:solidFill>
                <a:srgbClr val="004987"/>
              </a:solidFill>
            </a:endParaRP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CD99E8EC-4348-493A-BDC7-C55FB3D334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2954" y="2944686"/>
            <a:ext cx="5556600" cy="622594"/>
          </a:xfr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accent2"/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0FB03CB7-442C-4D99-AA81-28BB516433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72345" y="3672800"/>
            <a:ext cx="5556600" cy="2777867"/>
          </a:xfrm>
        </p:spPr>
        <p:txBody>
          <a:bodyPr>
            <a:noAutofit/>
          </a:bodyPr>
          <a:lstStyle>
            <a:lvl1pPr>
              <a:defRPr sz="2205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985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764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544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544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95734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3">
            <a:extLst>
              <a:ext uri="{FF2B5EF4-FFF2-40B4-BE49-F238E27FC236}">
                <a16:creationId xmlns:a16="http://schemas.microsoft.com/office/drawing/2014/main" id="{38A268AC-3A88-614C-86BC-D1B1374B3D19}"/>
              </a:ext>
            </a:extLst>
          </p:cNvPr>
          <p:cNvSpPr/>
          <p:nvPr userDrawn="1"/>
        </p:nvSpPr>
        <p:spPr>
          <a:xfrm>
            <a:off x="0" y="3889582"/>
            <a:ext cx="13486850" cy="94247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11925" b="23841"/>
            </a:stretch>
          </a:blipFill>
        </p:spPr>
        <p:txBody>
          <a:bodyPr wrap="square" lIns="0" tIns="0" rIns="0" bIns="0" rtlCol="0"/>
          <a:lstStyle/>
          <a:p>
            <a:endParaRPr sz="1985" dirty="0">
              <a:solidFill>
                <a:srgbClr val="004987"/>
              </a:solidFill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654C340A-5A64-9A4B-BC7B-C2435778AD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2346" y="2770101"/>
            <a:ext cx="7701886" cy="1302491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defRPr sz="463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0196E1D2-2B06-124B-B328-57B1FA52A8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72346" y="4429858"/>
            <a:ext cx="7701886" cy="126603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bg2">
                    <a:lumMod val="10000"/>
                  </a:schemeClr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389310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Группа 70">
            <a:extLst>
              <a:ext uri="{FF2B5EF4-FFF2-40B4-BE49-F238E27FC236}">
                <a16:creationId xmlns:a16="http://schemas.microsoft.com/office/drawing/2014/main" id="{B9030E0A-4187-7244-B44D-90EA8EFD6799}"/>
              </a:ext>
            </a:extLst>
          </p:cNvPr>
          <p:cNvGrpSpPr/>
          <p:nvPr userDrawn="1"/>
        </p:nvGrpSpPr>
        <p:grpSpPr>
          <a:xfrm flipH="1">
            <a:off x="8883319" y="4033520"/>
            <a:ext cx="4561218" cy="3538507"/>
            <a:chOff x="13855" y="3999377"/>
            <a:chExt cx="4519736" cy="3561296"/>
          </a:xfrm>
        </p:grpSpPr>
        <p:sp>
          <p:nvSpPr>
            <p:cNvPr id="34" name="object 4">
              <a:extLst>
                <a:ext uri="{FF2B5EF4-FFF2-40B4-BE49-F238E27FC236}">
                  <a16:creationId xmlns:a16="http://schemas.microsoft.com/office/drawing/2014/main" id="{FBD99BEF-9150-6549-B942-29C9C9BE228A}"/>
                </a:ext>
              </a:extLst>
            </p:cNvPr>
            <p:cNvSpPr/>
            <p:nvPr/>
          </p:nvSpPr>
          <p:spPr>
            <a:xfrm>
              <a:off x="2268489" y="6903499"/>
              <a:ext cx="1025525" cy="656590"/>
            </a:xfrm>
            <a:custGeom>
              <a:avLst/>
              <a:gdLst/>
              <a:ahLst/>
              <a:cxnLst/>
              <a:rect l="l" t="t" r="r" b="b"/>
              <a:pathLst>
                <a:path w="1025525" h="656590">
                  <a:moveTo>
                    <a:pt x="308265" y="656556"/>
                  </a:moveTo>
                  <a:lnTo>
                    <a:pt x="0" y="347306"/>
                  </a:lnTo>
                  <a:lnTo>
                    <a:pt x="27450" y="309504"/>
                  </a:lnTo>
                  <a:lnTo>
                    <a:pt x="52474" y="269931"/>
                  </a:lnTo>
                  <a:lnTo>
                    <a:pt x="74935" y="228673"/>
                  </a:lnTo>
                  <a:lnTo>
                    <a:pt x="94695" y="185812"/>
                  </a:lnTo>
                  <a:lnTo>
                    <a:pt x="111620" y="141430"/>
                  </a:lnTo>
                  <a:lnTo>
                    <a:pt x="125571" y="95612"/>
                  </a:lnTo>
                  <a:lnTo>
                    <a:pt x="136411" y="48441"/>
                  </a:lnTo>
                  <a:lnTo>
                    <a:pt x="144005" y="0"/>
                  </a:lnTo>
                  <a:lnTo>
                    <a:pt x="1025156" y="0"/>
                  </a:lnTo>
                  <a:lnTo>
                    <a:pt x="1021703" y="50600"/>
                  </a:lnTo>
                  <a:lnTo>
                    <a:pt x="1016686" y="100754"/>
                  </a:lnTo>
                  <a:lnTo>
                    <a:pt x="1010128" y="150439"/>
                  </a:lnTo>
                  <a:lnTo>
                    <a:pt x="1002053" y="199630"/>
                  </a:lnTo>
                  <a:lnTo>
                    <a:pt x="992484" y="248303"/>
                  </a:lnTo>
                  <a:lnTo>
                    <a:pt x="981446" y="296435"/>
                  </a:lnTo>
                  <a:lnTo>
                    <a:pt x="968960" y="344001"/>
                  </a:lnTo>
                  <a:lnTo>
                    <a:pt x="955052" y="390978"/>
                  </a:lnTo>
                  <a:lnTo>
                    <a:pt x="939744" y="437342"/>
                  </a:lnTo>
                  <a:lnTo>
                    <a:pt x="923059" y="483068"/>
                  </a:lnTo>
                  <a:lnTo>
                    <a:pt x="905022" y="528132"/>
                  </a:lnTo>
                  <a:lnTo>
                    <a:pt x="885656" y="572511"/>
                  </a:lnTo>
                  <a:lnTo>
                    <a:pt x="864983" y="616181"/>
                  </a:lnTo>
                  <a:lnTo>
                    <a:pt x="844338" y="656556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35" name="object 5">
              <a:extLst>
                <a:ext uri="{FF2B5EF4-FFF2-40B4-BE49-F238E27FC236}">
                  <a16:creationId xmlns:a16="http://schemas.microsoft.com/office/drawing/2014/main" id="{A72593C4-A76D-9F4D-97EC-9A451C75E2C8}"/>
                </a:ext>
              </a:extLst>
            </p:cNvPr>
            <p:cNvSpPr/>
            <p:nvPr/>
          </p:nvSpPr>
          <p:spPr>
            <a:xfrm>
              <a:off x="1799833" y="7372078"/>
              <a:ext cx="535305" cy="188595"/>
            </a:xfrm>
            <a:custGeom>
              <a:avLst/>
              <a:gdLst/>
              <a:ahLst/>
              <a:cxnLst/>
              <a:rect l="l" t="t" r="r" b="b"/>
              <a:pathLst>
                <a:path w="535305" h="188595">
                  <a:moveTo>
                    <a:pt x="0" y="187977"/>
                  </a:moveTo>
                  <a:lnTo>
                    <a:pt x="0" y="144538"/>
                  </a:lnTo>
                  <a:lnTo>
                    <a:pt x="48085" y="137022"/>
                  </a:lnTo>
                  <a:lnTo>
                    <a:pt x="95080" y="126322"/>
                  </a:lnTo>
                  <a:lnTo>
                    <a:pt x="140862" y="112523"/>
                  </a:lnTo>
                  <a:lnTo>
                    <a:pt x="185312" y="95710"/>
                  </a:lnTo>
                  <a:lnTo>
                    <a:pt x="228309" y="75966"/>
                  </a:lnTo>
                  <a:lnTo>
                    <a:pt x="269733" y="53377"/>
                  </a:lnTo>
                  <a:lnTo>
                    <a:pt x="309465" y="28026"/>
                  </a:lnTo>
                  <a:lnTo>
                    <a:pt x="347383" y="0"/>
                  </a:lnTo>
                  <a:lnTo>
                    <a:pt x="534998" y="187977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36" name="object 6">
              <a:extLst>
                <a:ext uri="{FF2B5EF4-FFF2-40B4-BE49-F238E27FC236}">
                  <a16:creationId xmlns:a16="http://schemas.microsoft.com/office/drawing/2014/main" id="{F42E8559-A9E2-834A-964B-0848C6304BA2}"/>
                </a:ext>
              </a:extLst>
            </p:cNvPr>
            <p:cNvSpPr/>
            <p:nvPr/>
          </p:nvSpPr>
          <p:spPr>
            <a:xfrm>
              <a:off x="1799833" y="7068180"/>
              <a:ext cx="212725" cy="259079"/>
            </a:xfrm>
            <a:custGeom>
              <a:avLst/>
              <a:gdLst/>
              <a:ahLst/>
              <a:cxnLst/>
              <a:rect l="l" t="t" r="r" b="b"/>
              <a:pathLst>
                <a:path w="212725" h="259079">
                  <a:moveTo>
                    <a:pt x="0" y="17945"/>
                  </a:moveTo>
                  <a:lnTo>
                    <a:pt x="11008" y="14023"/>
                  </a:lnTo>
                  <a:lnTo>
                    <a:pt x="21820" y="9829"/>
                  </a:lnTo>
                  <a:lnTo>
                    <a:pt x="32405" y="5207"/>
                  </a:lnTo>
                  <a:lnTo>
                    <a:pt x="42735" y="0"/>
                  </a:lnTo>
                  <a:lnTo>
                    <a:pt x="212610" y="169887"/>
                  </a:lnTo>
                  <a:lnTo>
                    <a:pt x="174148" y="194752"/>
                  </a:lnTo>
                  <a:lnTo>
                    <a:pt x="133442" y="216222"/>
                  </a:lnTo>
                  <a:lnTo>
                    <a:pt x="90707" y="234143"/>
                  </a:lnTo>
                  <a:lnTo>
                    <a:pt x="46155" y="248362"/>
                  </a:lnTo>
                  <a:lnTo>
                    <a:pt x="0" y="258724"/>
                  </a:lnTo>
                  <a:lnTo>
                    <a:pt x="0" y="17945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37" name="object 7">
              <a:extLst>
                <a:ext uri="{FF2B5EF4-FFF2-40B4-BE49-F238E27FC236}">
                  <a16:creationId xmlns:a16="http://schemas.microsoft.com/office/drawing/2014/main" id="{52A38894-8084-F047-A734-CF5684B20798}"/>
                </a:ext>
              </a:extLst>
            </p:cNvPr>
            <p:cNvSpPr/>
            <p:nvPr/>
          </p:nvSpPr>
          <p:spPr>
            <a:xfrm>
              <a:off x="1799833" y="6310663"/>
              <a:ext cx="212725" cy="264160"/>
            </a:xfrm>
            <a:custGeom>
              <a:avLst/>
              <a:gdLst/>
              <a:ahLst/>
              <a:cxnLst/>
              <a:rect l="l" t="t" r="r" b="b"/>
              <a:pathLst>
                <a:path w="212725" h="264159">
                  <a:moveTo>
                    <a:pt x="0" y="0"/>
                  </a:moveTo>
                  <a:lnTo>
                    <a:pt x="46155" y="10059"/>
                  </a:lnTo>
                  <a:lnTo>
                    <a:pt x="90707" y="23941"/>
                  </a:lnTo>
                  <a:lnTo>
                    <a:pt x="133442" y="41662"/>
                  </a:lnTo>
                  <a:lnTo>
                    <a:pt x="174148" y="63238"/>
                  </a:lnTo>
                  <a:lnTo>
                    <a:pt x="212610" y="88684"/>
                  </a:lnTo>
                  <a:lnTo>
                    <a:pt x="37401" y="263829"/>
                  </a:lnTo>
                  <a:lnTo>
                    <a:pt x="28221" y="259821"/>
                  </a:lnTo>
                  <a:lnTo>
                    <a:pt x="18919" y="255901"/>
                  </a:lnTo>
                  <a:lnTo>
                    <a:pt x="9508" y="252224"/>
                  </a:lnTo>
                  <a:lnTo>
                    <a:pt x="0" y="248945"/>
                  </a:lnTo>
                  <a:lnTo>
                    <a:pt x="0" y="0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38" name="object 8">
              <a:extLst>
                <a:ext uri="{FF2B5EF4-FFF2-40B4-BE49-F238E27FC236}">
                  <a16:creationId xmlns:a16="http://schemas.microsoft.com/office/drawing/2014/main" id="{EDBEF693-950A-074A-9BA2-525ADFFD4DF1}"/>
                </a:ext>
              </a:extLst>
            </p:cNvPr>
            <p:cNvSpPr/>
            <p:nvPr/>
          </p:nvSpPr>
          <p:spPr>
            <a:xfrm>
              <a:off x="1962381" y="6903499"/>
              <a:ext cx="259715" cy="214629"/>
            </a:xfrm>
            <a:custGeom>
              <a:avLst/>
              <a:gdLst/>
              <a:ahLst/>
              <a:cxnLst/>
              <a:rect l="l" t="t" r="r" b="b"/>
              <a:pathLst>
                <a:path w="259714" h="214629">
                  <a:moveTo>
                    <a:pt x="259397" y="0"/>
                  </a:moveTo>
                  <a:lnTo>
                    <a:pt x="249381" y="46754"/>
                  </a:lnTo>
                  <a:lnTo>
                    <a:pt x="235421" y="91748"/>
                  </a:lnTo>
                  <a:lnTo>
                    <a:pt x="217625" y="134795"/>
                  </a:lnTo>
                  <a:lnTo>
                    <a:pt x="196101" y="175708"/>
                  </a:lnTo>
                  <a:lnTo>
                    <a:pt x="170954" y="214299"/>
                  </a:lnTo>
                  <a:lnTo>
                    <a:pt x="0" y="42354"/>
                  </a:lnTo>
                  <a:lnTo>
                    <a:pt x="4593" y="31998"/>
                  </a:lnTo>
                  <a:lnTo>
                    <a:pt x="8799" y="21572"/>
                  </a:lnTo>
                  <a:lnTo>
                    <a:pt x="12689" y="10948"/>
                  </a:lnTo>
                  <a:lnTo>
                    <a:pt x="16332" y="0"/>
                  </a:lnTo>
                  <a:lnTo>
                    <a:pt x="259397" y="0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39" name="object 9">
              <a:extLst>
                <a:ext uri="{FF2B5EF4-FFF2-40B4-BE49-F238E27FC236}">
                  <a16:creationId xmlns:a16="http://schemas.microsoft.com/office/drawing/2014/main" id="{2BB09B3F-0E5E-CB4E-A814-1745E37F7F59}"/>
                </a:ext>
              </a:extLst>
            </p:cNvPr>
            <p:cNvSpPr/>
            <p:nvPr/>
          </p:nvSpPr>
          <p:spPr>
            <a:xfrm>
              <a:off x="1959256" y="6520378"/>
              <a:ext cx="262890" cy="213360"/>
            </a:xfrm>
            <a:custGeom>
              <a:avLst/>
              <a:gdLst/>
              <a:ahLst/>
              <a:cxnLst/>
              <a:rect l="l" t="t" r="r" b="b"/>
              <a:pathLst>
                <a:path w="262889" h="213359">
                  <a:moveTo>
                    <a:pt x="16713" y="213233"/>
                  </a:moveTo>
                  <a:lnTo>
                    <a:pt x="13378" y="202533"/>
                  </a:lnTo>
                  <a:lnTo>
                    <a:pt x="9409" y="192552"/>
                  </a:lnTo>
                  <a:lnTo>
                    <a:pt x="4913" y="183145"/>
                  </a:lnTo>
                  <a:lnTo>
                    <a:pt x="0" y="174167"/>
                  </a:lnTo>
                  <a:lnTo>
                    <a:pt x="174078" y="0"/>
                  </a:lnTo>
                  <a:lnTo>
                    <a:pt x="199225" y="38107"/>
                  </a:lnTo>
                  <a:lnTo>
                    <a:pt x="220750" y="78722"/>
                  </a:lnTo>
                  <a:lnTo>
                    <a:pt x="238545" y="121607"/>
                  </a:lnTo>
                  <a:lnTo>
                    <a:pt x="252505" y="166524"/>
                  </a:lnTo>
                  <a:lnTo>
                    <a:pt x="262521" y="213233"/>
                  </a:lnTo>
                  <a:lnTo>
                    <a:pt x="16713" y="213233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40" name="object 10">
              <a:extLst>
                <a:ext uri="{FF2B5EF4-FFF2-40B4-BE49-F238E27FC236}">
                  <a16:creationId xmlns:a16="http://schemas.microsoft.com/office/drawing/2014/main" id="{CB7D43C7-A5E7-3540-BC36-6C4236210F85}"/>
                </a:ext>
              </a:extLst>
            </p:cNvPr>
            <p:cNvSpPr/>
            <p:nvPr/>
          </p:nvSpPr>
          <p:spPr>
            <a:xfrm>
              <a:off x="1799833" y="5243291"/>
              <a:ext cx="968375" cy="1022350"/>
            </a:xfrm>
            <a:custGeom>
              <a:avLst/>
              <a:gdLst/>
              <a:ahLst/>
              <a:cxnLst/>
              <a:rect l="l" t="t" r="r" b="b"/>
              <a:pathLst>
                <a:path w="968375" h="1022350">
                  <a:moveTo>
                    <a:pt x="0" y="0"/>
                  </a:moveTo>
                  <a:lnTo>
                    <a:pt x="52767" y="3735"/>
                  </a:lnTo>
                  <a:lnTo>
                    <a:pt x="105039" y="9168"/>
                  </a:lnTo>
                  <a:lnTo>
                    <a:pt x="156789" y="16270"/>
                  </a:lnTo>
                  <a:lnTo>
                    <a:pt x="207988" y="25016"/>
                  </a:lnTo>
                  <a:lnTo>
                    <a:pt x="258610" y="35381"/>
                  </a:lnTo>
                  <a:lnTo>
                    <a:pt x="308628" y="47339"/>
                  </a:lnTo>
                  <a:lnTo>
                    <a:pt x="358013" y="60863"/>
                  </a:lnTo>
                  <a:lnTo>
                    <a:pt x="406740" y="75927"/>
                  </a:lnTo>
                  <a:lnTo>
                    <a:pt x="454780" y="92507"/>
                  </a:lnTo>
                  <a:lnTo>
                    <a:pt x="502105" y="110575"/>
                  </a:lnTo>
                  <a:lnTo>
                    <a:pt x="548690" y="130106"/>
                  </a:lnTo>
                  <a:lnTo>
                    <a:pt x="594506" y="151074"/>
                  </a:lnTo>
                  <a:lnTo>
                    <a:pt x="639527" y="173453"/>
                  </a:lnTo>
                  <a:lnTo>
                    <a:pt x="683724" y="197217"/>
                  </a:lnTo>
                  <a:lnTo>
                    <a:pt x="727071" y="222341"/>
                  </a:lnTo>
                  <a:lnTo>
                    <a:pt x="769540" y="248798"/>
                  </a:lnTo>
                  <a:lnTo>
                    <a:pt x="811105" y="276562"/>
                  </a:lnTo>
                  <a:lnTo>
                    <a:pt x="851736" y="305608"/>
                  </a:lnTo>
                  <a:lnTo>
                    <a:pt x="891409" y="335910"/>
                  </a:lnTo>
                  <a:lnTo>
                    <a:pt x="930094" y="367441"/>
                  </a:lnTo>
                  <a:lnTo>
                    <a:pt x="967765" y="400177"/>
                  </a:lnTo>
                  <a:lnTo>
                    <a:pt x="347383" y="1021969"/>
                  </a:lnTo>
                  <a:lnTo>
                    <a:pt x="309465" y="994204"/>
                  </a:lnTo>
                  <a:lnTo>
                    <a:pt x="269733" y="968973"/>
                  </a:lnTo>
                  <a:lnTo>
                    <a:pt x="228309" y="946392"/>
                  </a:lnTo>
                  <a:lnTo>
                    <a:pt x="185312" y="926572"/>
                  </a:lnTo>
                  <a:lnTo>
                    <a:pt x="140862" y="909630"/>
                  </a:lnTo>
                  <a:lnTo>
                    <a:pt x="95080" y="895678"/>
                  </a:lnTo>
                  <a:lnTo>
                    <a:pt x="48085" y="884830"/>
                  </a:lnTo>
                  <a:lnTo>
                    <a:pt x="0" y="877201"/>
                  </a:lnTo>
                  <a:lnTo>
                    <a:pt x="0" y="0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41" name="object 11">
              <a:extLst>
                <a:ext uri="{FF2B5EF4-FFF2-40B4-BE49-F238E27FC236}">
                  <a16:creationId xmlns:a16="http://schemas.microsoft.com/office/drawing/2014/main" id="{579C6DE5-D343-2242-A9D7-234200EFA475}"/>
                </a:ext>
              </a:extLst>
            </p:cNvPr>
            <p:cNvSpPr/>
            <p:nvPr/>
          </p:nvSpPr>
          <p:spPr>
            <a:xfrm>
              <a:off x="2268489" y="5764995"/>
              <a:ext cx="1024255" cy="969010"/>
            </a:xfrm>
            <a:custGeom>
              <a:avLst/>
              <a:gdLst/>
              <a:ahLst/>
              <a:cxnLst/>
              <a:rect l="l" t="t" r="r" b="b"/>
              <a:pathLst>
                <a:path w="1024254" h="969009">
                  <a:moveTo>
                    <a:pt x="1024102" y="968616"/>
                  </a:moveTo>
                  <a:lnTo>
                    <a:pt x="144005" y="968616"/>
                  </a:lnTo>
                  <a:lnTo>
                    <a:pt x="136411" y="920119"/>
                  </a:lnTo>
                  <a:lnTo>
                    <a:pt x="125571" y="872812"/>
                  </a:lnTo>
                  <a:lnTo>
                    <a:pt x="111620" y="826814"/>
                  </a:lnTo>
                  <a:lnTo>
                    <a:pt x="94695" y="782242"/>
                  </a:lnTo>
                  <a:lnTo>
                    <a:pt x="74935" y="739212"/>
                  </a:lnTo>
                  <a:lnTo>
                    <a:pt x="52474" y="697841"/>
                  </a:lnTo>
                  <a:lnTo>
                    <a:pt x="27450" y="658247"/>
                  </a:lnTo>
                  <a:lnTo>
                    <a:pt x="0" y="620547"/>
                  </a:lnTo>
                  <a:lnTo>
                    <a:pt x="620382" y="0"/>
                  </a:lnTo>
                  <a:lnTo>
                    <a:pt x="653297" y="37615"/>
                  </a:lnTo>
                  <a:lnTo>
                    <a:pt x="685015" y="76262"/>
                  </a:lnTo>
                  <a:lnTo>
                    <a:pt x="715510" y="115910"/>
                  </a:lnTo>
                  <a:lnTo>
                    <a:pt x="744754" y="156533"/>
                  </a:lnTo>
                  <a:lnTo>
                    <a:pt x="772719" y="198101"/>
                  </a:lnTo>
                  <a:lnTo>
                    <a:pt x="799379" y="240585"/>
                  </a:lnTo>
                  <a:lnTo>
                    <a:pt x="824706" y="283959"/>
                  </a:lnTo>
                  <a:lnTo>
                    <a:pt x="848673" y="328193"/>
                  </a:lnTo>
                  <a:lnTo>
                    <a:pt x="871252" y="373258"/>
                  </a:lnTo>
                  <a:lnTo>
                    <a:pt x="892418" y="419128"/>
                  </a:lnTo>
                  <a:lnTo>
                    <a:pt x="912141" y="465772"/>
                  </a:lnTo>
                  <a:lnTo>
                    <a:pt x="930396" y="513164"/>
                  </a:lnTo>
                  <a:lnTo>
                    <a:pt x="947155" y="561274"/>
                  </a:lnTo>
                  <a:lnTo>
                    <a:pt x="962391" y="610074"/>
                  </a:lnTo>
                  <a:lnTo>
                    <a:pt x="976076" y="659535"/>
                  </a:lnTo>
                  <a:lnTo>
                    <a:pt x="988183" y="709631"/>
                  </a:lnTo>
                  <a:lnTo>
                    <a:pt x="998686" y="760331"/>
                  </a:lnTo>
                  <a:lnTo>
                    <a:pt x="1007556" y="811608"/>
                  </a:lnTo>
                  <a:lnTo>
                    <a:pt x="1014767" y="863434"/>
                  </a:lnTo>
                  <a:lnTo>
                    <a:pt x="1020292" y="915779"/>
                  </a:lnTo>
                  <a:lnTo>
                    <a:pt x="1024102" y="968616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42" name="object 12">
              <a:extLst>
                <a:ext uri="{FF2B5EF4-FFF2-40B4-BE49-F238E27FC236}">
                  <a16:creationId xmlns:a16="http://schemas.microsoft.com/office/drawing/2014/main" id="{FD260CC0-4205-7846-812F-E5931BD65FB0}"/>
                </a:ext>
              </a:extLst>
            </p:cNvPr>
            <p:cNvSpPr/>
            <p:nvPr/>
          </p:nvSpPr>
          <p:spPr>
            <a:xfrm>
              <a:off x="660720" y="5243291"/>
              <a:ext cx="967740" cy="1022350"/>
            </a:xfrm>
            <a:custGeom>
              <a:avLst/>
              <a:gdLst/>
              <a:ahLst/>
              <a:cxnLst/>
              <a:rect l="l" t="t" r="r" b="b"/>
              <a:pathLst>
                <a:path w="967739" h="1022350">
                  <a:moveTo>
                    <a:pt x="967701" y="877201"/>
                  </a:moveTo>
                  <a:lnTo>
                    <a:pt x="919599" y="884830"/>
                  </a:lnTo>
                  <a:lnTo>
                    <a:pt x="872570" y="895678"/>
                  </a:lnTo>
                  <a:lnTo>
                    <a:pt x="826744" y="909630"/>
                  </a:lnTo>
                  <a:lnTo>
                    <a:pt x="782250" y="926572"/>
                  </a:lnTo>
                  <a:lnTo>
                    <a:pt x="739215" y="946392"/>
                  </a:lnTo>
                  <a:lnTo>
                    <a:pt x="697768" y="968973"/>
                  </a:lnTo>
                  <a:lnTo>
                    <a:pt x="658038" y="994204"/>
                  </a:lnTo>
                  <a:lnTo>
                    <a:pt x="620153" y="1021969"/>
                  </a:lnTo>
                  <a:lnTo>
                    <a:pt x="0" y="400177"/>
                  </a:lnTo>
                  <a:lnTo>
                    <a:pt x="37652" y="367441"/>
                  </a:lnTo>
                  <a:lnTo>
                    <a:pt x="76321" y="335910"/>
                  </a:lnTo>
                  <a:lnTo>
                    <a:pt x="115980" y="305608"/>
                  </a:lnTo>
                  <a:lnTo>
                    <a:pt x="156600" y="276562"/>
                  </a:lnTo>
                  <a:lnTo>
                    <a:pt x="198155" y="248798"/>
                  </a:lnTo>
                  <a:lnTo>
                    <a:pt x="240617" y="222341"/>
                  </a:lnTo>
                  <a:lnTo>
                    <a:pt x="283959" y="197217"/>
                  </a:lnTo>
                  <a:lnTo>
                    <a:pt x="328152" y="173453"/>
                  </a:lnTo>
                  <a:lnTo>
                    <a:pt x="373170" y="151074"/>
                  </a:lnTo>
                  <a:lnTo>
                    <a:pt x="418985" y="130106"/>
                  </a:lnTo>
                  <a:lnTo>
                    <a:pt x="465570" y="110575"/>
                  </a:lnTo>
                  <a:lnTo>
                    <a:pt x="512897" y="92507"/>
                  </a:lnTo>
                  <a:lnTo>
                    <a:pt x="560939" y="75927"/>
                  </a:lnTo>
                  <a:lnTo>
                    <a:pt x="609667" y="60863"/>
                  </a:lnTo>
                  <a:lnTo>
                    <a:pt x="659056" y="47339"/>
                  </a:lnTo>
                  <a:lnTo>
                    <a:pt x="709076" y="35381"/>
                  </a:lnTo>
                  <a:lnTo>
                    <a:pt x="759702" y="25016"/>
                  </a:lnTo>
                  <a:lnTo>
                    <a:pt x="810904" y="16270"/>
                  </a:lnTo>
                  <a:lnTo>
                    <a:pt x="862657" y="9168"/>
                  </a:lnTo>
                  <a:lnTo>
                    <a:pt x="914932" y="3735"/>
                  </a:lnTo>
                  <a:lnTo>
                    <a:pt x="967701" y="0"/>
                  </a:lnTo>
                  <a:lnTo>
                    <a:pt x="967701" y="877201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43" name="object 13">
              <a:extLst>
                <a:ext uri="{FF2B5EF4-FFF2-40B4-BE49-F238E27FC236}">
                  <a16:creationId xmlns:a16="http://schemas.microsoft.com/office/drawing/2014/main" id="{35C0B38A-FB7C-D44D-A531-57276BF23924}"/>
                </a:ext>
              </a:extLst>
            </p:cNvPr>
            <p:cNvSpPr/>
            <p:nvPr/>
          </p:nvSpPr>
          <p:spPr>
            <a:xfrm>
              <a:off x="1415569" y="6310663"/>
              <a:ext cx="213360" cy="264160"/>
            </a:xfrm>
            <a:custGeom>
              <a:avLst/>
              <a:gdLst/>
              <a:ahLst/>
              <a:cxnLst/>
              <a:rect l="l" t="t" r="r" b="b"/>
              <a:pathLst>
                <a:path w="213360" h="264159">
                  <a:moveTo>
                    <a:pt x="212852" y="248945"/>
                  </a:moveTo>
                  <a:lnTo>
                    <a:pt x="203318" y="252224"/>
                  </a:lnTo>
                  <a:lnTo>
                    <a:pt x="193860" y="255901"/>
                  </a:lnTo>
                  <a:lnTo>
                    <a:pt x="184528" y="259821"/>
                  </a:lnTo>
                  <a:lnTo>
                    <a:pt x="175374" y="263829"/>
                  </a:lnTo>
                  <a:lnTo>
                    <a:pt x="0" y="88684"/>
                  </a:lnTo>
                  <a:lnTo>
                    <a:pt x="38582" y="63238"/>
                  </a:lnTo>
                  <a:lnTo>
                    <a:pt x="79373" y="41662"/>
                  </a:lnTo>
                  <a:lnTo>
                    <a:pt x="122158" y="23941"/>
                  </a:lnTo>
                  <a:lnTo>
                    <a:pt x="166722" y="10059"/>
                  </a:lnTo>
                  <a:lnTo>
                    <a:pt x="212852" y="0"/>
                  </a:lnTo>
                  <a:lnTo>
                    <a:pt x="212852" y="248945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44" name="object 14">
              <a:extLst>
                <a:ext uri="{FF2B5EF4-FFF2-40B4-BE49-F238E27FC236}">
                  <a16:creationId xmlns:a16="http://schemas.microsoft.com/office/drawing/2014/main" id="{3D6A962F-62D0-3845-8ED4-88D349506858}"/>
                </a:ext>
              </a:extLst>
            </p:cNvPr>
            <p:cNvSpPr/>
            <p:nvPr/>
          </p:nvSpPr>
          <p:spPr>
            <a:xfrm>
              <a:off x="1415569" y="7068180"/>
              <a:ext cx="213360" cy="259079"/>
            </a:xfrm>
            <a:custGeom>
              <a:avLst/>
              <a:gdLst/>
              <a:ahLst/>
              <a:cxnLst/>
              <a:rect l="l" t="t" r="r" b="b"/>
              <a:pathLst>
                <a:path w="213360" h="259079">
                  <a:moveTo>
                    <a:pt x="212852" y="258724"/>
                  </a:moveTo>
                  <a:lnTo>
                    <a:pt x="166722" y="248362"/>
                  </a:lnTo>
                  <a:lnTo>
                    <a:pt x="122158" y="234143"/>
                  </a:lnTo>
                  <a:lnTo>
                    <a:pt x="79373" y="216222"/>
                  </a:lnTo>
                  <a:lnTo>
                    <a:pt x="38582" y="194752"/>
                  </a:lnTo>
                  <a:lnTo>
                    <a:pt x="0" y="169887"/>
                  </a:lnTo>
                  <a:lnTo>
                    <a:pt x="170116" y="0"/>
                  </a:lnTo>
                  <a:lnTo>
                    <a:pt x="180519" y="5207"/>
                  </a:lnTo>
                  <a:lnTo>
                    <a:pt x="191112" y="9829"/>
                  </a:lnTo>
                  <a:lnTo>
                    <a:pt x="201891" y="14023"/>
                  </a:lnTo>
                  <a:lnTo>
                    <a:pt x="212852" y="17945"/>
                  </a:lnTo>
                  <a:lnTo>
                    <a:pt x="212852" y="258724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45" name="object 15">
              <a:extLst>
                <a:ext uri="{FF2B5EF4-FFF2-40B4-BE49-F238E27FC236}">
                  <a16:creationId xmlns:a16="http://schemas.microsoft.com/office/drawing/2014/main" id="{350625BE-BDA5-EF4F-9A05-B91EEA86EF36}"/>
                </a:ext>
              </a:extLst>
            </p:cNvPr>
            <p:cNvSpPr/>
            <p:nvPr/>
          </p:nvSpPr>
          <p:spPr>
            <a:xfrm>
              <a:off x="1206388" y="6520378"/>
              <a:ext cx="262890" cy="213360"/>
            </a:xfrm>
            <a:custGeom>
              <a:avLst/>
              <a:gdLst/>
              <a:ahLst/>
              <a:cxnLst/>
              <a:rect l="l" t="t" r="r" b="b"/>
              <a:pathLst>
                <a:path w="262890" h="213359">
                  <a:moveTo>
                    <a:pt x="0" y="213233"/>
                  </a:moveTo>
                  <a:lnTo>
                    <a:pt x="9950" y="166524"/>
                  </a:lnTo>
                  <a:lnTo>
                    <a:pt x="23855" y="121607"/>
                  </a:lnTo>
                  <a:lnTo>
                    <a:pt x="41569" y="78722"/>
                  </a:lnTo>
                  <a:lnTo>
                    <a:pt x="62948" y="38107"/>
                  </a:lnTo>
                  <a:lnTo>
                    <a:pt x="87845" y="0"/>
                  </a:lnTo>
                  <a:lnTo>
                    <a:pt x="262305" y="174167"/>
                  </a:lnTo>
                  <a:lnTo>
                    <a:pt x="257583" y="183145"/>
                  </a:lnTo>
                  <a:lnTo>
                    <a:pt x="253147" y="192552"/>
                  </a:lnTo>
                  <a:lnTo>
                    <a:pt x="249166" y="202533"/>
                  </a:lnTo>
                  <a:lnTo>
                    <a:pt x="245808" y="213233"/>
                  </a:lnTo>
                  <a:lnTo>
                    <a:pt x="0" y="213233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46" name="object 16">
              <a:extLst>
                <a:ext uri="{FF2B5EF4-FFF2-40B4-BE49-F238E27FC236}">
                  <a16:creationId xmlns:a16="http://schemas.microsoft.com/office/drawing/2014/main" id="{13DCAE95-C40D-8042-9C16-CB056C688A4E}"/>
                </a:ext>
              </a:extLst>
            </p:cNvPr>
            <p:cNvSpPr/>
            <p:nvPr/>
          </p:nvSpPr>
          <p:spPr>
            <a:xfrm>
              <a:off x="1206388" y="6903499"/>
              <a:ext cx="259715" cy="214629"/>
            </a:xfrm>
            <a:custGeom>
              <a:avLst/>
              <a:gdLst/>
              <a:ahLst/>
              <a:cxnLst/>
              <a:rect l="l" t="t" r="r" b="b"/>
              <a:pathLst>
                <a:path w="259715" h="214629">
                  <a:moveTo>
                    <a:pt x="243154" y="0"/>
                  </a:moveTo>
                  <a:lnTo>
                    <a:pt x="246538" y="10948"/>
                  </a:lnTo>
                  <a:lnTo>
                    <a:pt x="250448" y="21572"/>
                  </a:lnTo>
                  <a:lnTo>
                    <a:pt x="254775" y="31998"/>
                  </a:lnTo>
                  <a:lnTo>
                    <a:pt x="259410" y="42354"/>
                  </a:lnTo>
                  <a:lnTo>
                    <a:pt x="87845" y="214299"/>
                  </a:lnTo>
                  <a:lnTo>
                    <a:pt x="62948" y="175708"/>
                  </a:lnTo>
                  <a:lnTo>
                    <a:pt x="41569" y="134795"/>
                  </a:lnTo>
                  <a:lnTo>
                    <a:pt x="23855" y="91748"/>
                  </a:lnTo>
                  <a:lnTo>
                    <a:pt x="9950" y="46754"/>
                  </a:lnTo>
                  <a:lnTo>
                    <a:pt x="0" y="0"/>
                  </a:lnTo>
                  <a:lnTo>
                    <a:pt x="243154" y="0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47" name="object 17">
              <a:extLst>
                <a:ext uri="{FF2B5EF4-FFF2-40B4-BE49-F238E27FC236}">
                  <a16:creationId xmlns:a16="http://schemas.microsoft.com/office/drawing/2014/main" id="{B6DA9976-F2D1-3D4F-9E43-8ACE9FC689D2}"/>
                </a:ext>
              </a:extLst>
            </p:cNvPr>
            <p:cNvSpPr/>
            <p:nvPr/>
          </p:nvSpPr>
          <p:spPr>
            <a:xfrm>
              <a:off x="1093307" y="7372078"/>
              <a:ext cx="535305" cy="188595"/>
            </a:xfrm>
            <a:custGeom>
              <a:avLst/>
              <a:gdLst/>
              <a:ahLst/>
              <a:cxnLst/>
              <a:rect l="l" t="t" r="r" b="b"/>
              <a:pathLst>
                <a:path w="535305" h="188595">
                  <a:moveTo>
                    <a:pt x="0" y="187977"/>
                  </a:moveTo>
                  <a:lnTo>
                    <a:pt x="187565" y="0"/>
                  </a:lnTo>
                  <a:lnTo>
                    <a:pt x="225450" y="27742"/>
                  </a:lnTo>
                  <a:lnTo>
                    <a:pt x="265180" y="52959"/>
                  </a:lnTo>
                  <a:lnTo>
                    <a:pt x="306627" y="75531"/>
                  </a:lnTo>
                  <a:lnTo>
                    <a:pt x="349662" y="95338"/>
                  </a:lnTo>
                  <a:lnTo>
                    <a:pt x="394157" y="112262"/>
                  </a:lnTo>
                  <a:lnTo>
                    <a:pt x="439983" y="126183"/>
                  </a:lnTo>
                  <a:lnTo>
                    <a:pt x="487011" y="136982"/>
                  </a:lnTo>
                  <a:lnTo>
                    <a:pt x="535113" y="144538"/>
                  </a:lnTo>
                  <a:lnTo>
                    <a:pt x="535113" y="187977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48" name="object 18">
              <a:extLst>
                <a:ext uri="{FF2B5EF4-FFF2-40B4-BE49-F238E27FC236}">
                  <a16:creationId xmlns:a16="http://schemas.microsoft.com/office/drawing/2014/main" id="{48EB563F-EEBF-1B4C-8DB6-B83ED615C7D9}"/>
                </a:ext>
              </a:extLst>
            </p:cNvPr>
            <p:cNvSpPr/>
            <p:nvPr/>
          </p:nvSpPr>
          <p:spPr>
            <a:xfrm>
              <a:off x="134597" y="6903499"/>
              <a:ext cx="1026160" cy="656590"/>
            </a:xfrm>
            <a:custGeom>
              <a:avLst/>
              <a:gdLst/>
              <a:ahLst/>
              <a:cxnLst/>
              <a:rect l="l" t="t" r="r" b="b"/>
              <a:pathLst>
                <a:path w="1026160" h="656590">
                  <a:moveTo>
                    <a:pt x="0" y="0"/>
                  </a:moveTo>
                  <a:lnTo>
                    <a:pt x="881151" y="0"/>
                  </a:lnTo>
                  <a:lnTo>
                    <a:pt x="888721" y="48441"/>
                  </a:lnTo>
                  <a:lnTo>
                    <a:pt x="899551" y="95612"/>
                  </a:lnTo>
                  <a:lnTo>
                    <a:pt x="913511" y="141430"/>
                  </a:lnTo>
                  <a:lnTo>
                    <a:pt x="930471" y="185812"/>
                  </a:lnTo>
                  <a:lnTo>
                    <a:pt x="950301" y="228673"/>
                  </a:lnTo>
                  <a:lnTo>
                    <a:pt x="972870" y="269931"/>
                  </a:lnTo>
                  <a:lnTo>
                    <a:pt x="998047" y="309504"/>
                  </a:lnTo>
                  <a:lnTo>
                    <a:pt x="1025702" y="347306"/>
                  </a:lnTo>
                  <a:lnTo>
                    <a:pt x="717130" y="656556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49" name="object 19">
              <a:extLst>
                <a:ext uri="{FF2B5EF4-FFF2-40B4-BE49-F238E27FC236}">
                  <a16:creationId xmlns:a16="http://schemas.microsoft.com/office/drawing/2014/main" id="{767D9516-9265-2842-B6F1-CF07623E1EE2}"/>
                </a:ext>
              </a:extLst>
            </p:cNvPr>
            <p:cNvSpPr/>
            <p:nvPr/>
          </p:nvSpPr>
          <p:spPr>
            <a:xfrm>
              <a:off x="134597" y="6903499"/>
              <a:ext cx="180975" cy="656590"/>
            </a:xfrm>
            <a:custGeom>
              <a:avLst/>
              <a:gdLst/>
              <a:ahLst/>
              <a:cxnLst/>
              <a:rect l="l" t="t" r="r" b="b"/>
              <a:pathLst>
                <a:path w="180975" h="656590">
                  <a:moveTo>
                    <a:pt x="180662" y="656556"/>
                  </a:moveTo>
                  <a:lnTo>
                    <a:pt x="159991" y="616181"/>
                  </a:lnTo>
                  <a:lnTo>
                    <a:pt x="139292" y="572511"/>
                  </a:lnTo>
                  <a:lnTo>
                    <a:pt x="119900" y="528132"/>
                  </a:lnTo>
                  <a:lnTo>
                    <a:pt x="101841" y="483068"/>
                  </a:lnTo>
                  <a:lnTo>
                    <a:pt x="85139" y="437342"/>
                  </a:lnTo>
                  <a:lnTo>
                    <a:pt x="69820" y="390978"/>
                  </a:lnTo>
                  <a:lnTo>
                    <a:pt x="55907" y="344001"/>
                  </a:lnTo>
                  <a:lnTo>
                    <a:pt x="43426" y="296435"/>
                  </a:lnTo>
                  <a:lnTo>
                    <a:pt x="32402" y="248303"/>
                  </a:lnTo>
                  <a:lnTo>
                    <a:pt x="22859" y="199630"/>
                  </a:lnTo>
                  <a:lnTo>
                    <a:pt x="14823" y="150439"/>
                  </a:lnTo>
                  <a:lnTo>
                    <a:pt x="8318" y="100754"/>
                  </a:lnTo>
                  <a:lnTo>
                    <a:pt x="3368" y="50600"/>
                  </a:lnTo>
                  <a:lnTo>
                    <a:pt x="0" y="0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50" name="object 20">
              <a:extLst>
                <a:ext uri="{FF2B5EF4-FFF2-40B4-BE49-F238E27FC236}">
                  <a16:creationId xmlns:a16="http://schemas.microsoft.com/office/drawing/2014/main" id="{B01C220D-6109-3440-BAB0-F31C00F9E4DC}"/>
                </a:ext>
              </a:extLst>
            </p:cNvPr>
            <p:cNvSpPr/>
            <p:nvPr/>
          </p:nvSpPr>
          <p:spPr>
            <a:xfrm>
              <a:off x="135130" y="5764995"/>
              <a:ext cx="1025525" cy="969010"/>
            </a:xfrm>
            <a:custGeom>
              <a:avLst/>
              <a:gdLst/>
              <a:ahLst/>
              <a:cxnLst/>
              <a:rect l="l" t="t" r="r" b="b"/>
              <a:pathLst>
                <a:path w="1025525" h="969009">
                  <a:moveTo>
                    <a:pt x="404101" y="0"/>
                  </a:moveTo>
                  <a:lnTo>
                    <a:pt x="1025169" y="620547"/>
                  </a:lnTo>
                  <a:lnTo>
                    <a:pt x="997513" y="658247"/>
                  </a:lnTo>
                  <a:lnTo>
                    <a:pt x="972336" y="697841"/>
                  </a:lnTo>
                  <a:lnTo>
                    <a:pt x="949768" y="739212"/>
                  </a:lnTo>
                  <a:lnTo>
                    <a:pt x="929938" y="782242"/>
                  </a:lnTo>
                  <a:lnTo>
                    <a:pt x="912978" y="826814"/>
                  </a:lnTo>
                  <a:lnTo>
                    <a:pt x="899017" y="872812"/>
                  </a:lnTo>
                  <a:lnTo>
                    <a:pt x="888187" y="920119"/>
                  </a:lnTo>
                  <a:lnTo>
                    <a:pt x="880618" y="968616"/>
                  </a:lnTo>
                  <a:lnTo>
                    <a:pt x="0" y="968616"/>
                  </a:lnTo>
                  <a:lnTo>
                    <a:pt x="3873" y="915779"/>
                  </a:lnTo>
                  <a:lnTo>
                    <a:pt x="9457" y="863434"/>
                  </a:lnTo>
                  <a:lnTo>
                    <a:pt x="16723" y="811608"/>
                  </a:lnTo>
                  <a:lnTo>
                    <a:pt x="25644" y="760331"/>
                  </a:lnTo>
                  <a:lnTo>
                    <a:pt x="36194" y="709631"/>
                  </a:lnTo>
                  <a:lnTo>
                    <a:pt x="48343" y="659535"/>
                  </a:lnTo>
                  <a:lnTo>
                    <a:pt x="62066" y="610074"/>
                  </a:lnTo>
                  <a:lnTo>
                    <a:pt x="77335" y="561274"/>
                  </a:lnTo>
                  <a:lnTo>
                    <a:pt x="94123" y="513164"/>
                  </a:lnTo>
                  <a:lnTo>
                    <a:pt x="112402" y="465772"/>
                  </a:lnTo>
                  <a:lnTo>
                    <a:pt x="132145" y="419128"/>
                  </a:lnTo>
                  <a:lnTo>
                    <a:pt x="153326" y="373258"/>
                  </a:lnTo>
                  <a:lnTo>
                    <a:pt x="175915" y="328193"/>
                  </a:lnTo>
                  <a:lnTo>
                    <a:pt x="199887" y="283959"/>
                  </a:lnTo>
                  <a:lnTo>
                    <a:pt x="225214" y="240585"/>
                  </a:lnTo>
                  <a:lnTo>
                    <a:pt x="251869" y="198101"/>
                  </a:lnTo>
                  <a:lnTo>
                    <a:pt x="279823" y="156533"/>
                  </a:lnTo>
                  <a:lnTo>
                    <a:pt x="309051" y="115910"/>
                  </a:lnTo>
                  <a:lnTo>
                    <a:pt x="339525" y="76262"/>
                  </a:lnTo>
                  <a:lnTo>
                    <a:pt x="371217" y="37615"/>
                  </a:lnTo>
                  <a:lnTo>
                    <a:pt x="404101" y="0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51" name="object 21">
              <a:extLst>
                <a:ext uri="{FF2B5EF4-FFF2-40B4-BE49-F238E27FC236}">
                  <a16:creationId xmlns:a16="http://schemas.microsoft.com/office/drawing/2014/main" id="{DAFB83A4-3D0B-F048-9596-8DB494674E24}"/>
                </a:ext>
              </a:extLst>
            </p:cNvPr>
            <p:cNvSpPr/>
            <p:nvPr/>
          </p:nvSpPr>
          <p:spPr>
            <a:xfrm>
              <a:off x="13855" y="3999377"/>
              <a:ext cx="3830954" cy="2734310"/>
            </a:xfrm>
            <a:custGeom>
              <a:avLst/>
              <a:gdLst/>
              <a:ahLst/>
              <a:cxnLst/>
              <a:rect l="l" t="t" r="r" b="b"/>
              <a:pathLst>
                <a:path w="3830954" h="2734309">
                  <a:moveTo>
                    <a:pt x="3830576" y="2734233"/>
                  </a:moveTo>
                  <a:lnTo>
                    <a:pt x="3709227" y="2734233"/>
                  </a:lnTo>
                  <a:lnTo>
                    <a:pt x="3706251" y="2681958"/>
                  </a:lnTo>
                  <a:lnTo>
                    <a:pt x="3701946" y="2630037"/>
                  </a:lnTo>
                  <a:lnTo>
                    <a:pt x="3696329" y="2578486"/>
                  </a:lnTo>
                  <a:lnTo>
                    <a:pt x="3689418" y="2527325"/>
                  </a:lnTo>
                  <a:lnTo>
                    <a:pt x="3681228" y="2476569"/>
                  </a:lnTo>
                  <a:lnTo>
                    <a:pt x="3671777" y="2426237"/>
                  </a:lnTo>
                  <a:lnTo>
                    <a:pt x="3661082" y="2376346"/>
                  </a:lnTo>
                  <a:lnTo>
                    <a:pt x="3649160" y="2326914"/>
                  </a:lnTo>
                  <a:lnTo>
                    <a:pt x="3636027" y="2277958"/>
                  </a:lnTo>
                  <a:lnTo>
                    <a:pt x="3621700" y="2229496"/>
                  </a:lnTo>
                  <a:lnTo>
                    <a:pt x="3606197" y="2181544"/>
                  </a:lnTo>
                  <a:lnTo>
                    <a:pt x="3589534" y="2134122"/>
                  </a:lnTo>
                  <a:lnTo>
                    <a:pt x="3571729" y="2087245"/>
                  </a:lnTo>
                  <a:lnTo>
                    <a:pt x="3552797" y="2040932"/>
                  </a:lnTo>
                  <a:lnTo>
                    <a:pt x="3532756" y="1995201"/>
                  </a:lnTo>
                  <a:lnTo>
                    <a:pt x="3511623" y="1950068"/>
                  </a:lnTo>
                  <a:lnTo>
                    <a:pt x="3489414" y="1905551"/>
                  </a:lnTo>
                  <a:lnTo>
                    <a:pt x="3466147" y="1861668"/>
                  </a:lnTo>
                  <a:lnTo>
                    <a:pt x="3441839" y="1818436"/>
                  </a:lnTo>
                  <a:lnTo>
                    <a:pt x="3416505" y="1775873"/>
                  </a:lnTo>
                  <a:lnTo>
                    <a:pt x="3390164" y="1733996"/>
                  </a:lnTo>
                  <a:lnTo>
                    <a:pt x="3362832" y="1692822"/>
                  </a:lnTo>
                  <a:lnTo>
                    <a:pt x="3334526" y="1652370"/>
                  </a:lnTo>
                  <a:lnTo>
                    <a:pt x="3305263" y="1612657"/>
                  </a:lnTo>
                  <a:lnTo>
                    <a:pt x="3275060" y="1573700"/>
                  </a:lnTo>
                  <a:lnTo>
                    <a:pt x="3243933" y="1535517"/>
                  </a:lnTo>
                  <a:lnTo>
                    <a:pt x="3211900" y="1498124"/>
                  </a:lnTo>
                  <a:lnTo>
                    <a:pt x="3178977" y="1461541"/>
                  </a:lnTo>
                  <a:lnTo>
                    <a:pt x="3265528" y="1374876"/>
                  </a:lnTo>
                  <a:lnTo>
                    <a:pt x="3308299" y="1365968"/>
                  </a:lnTo>
                  <a:lnTo>
                    <a:pt x="3354137" y="1350761"/>
                  </a:lnTo>
                  <a:lnTo>
                    <a:pt x="3401672" y="1330230"/>
                  </a:lnTo>
                  <a:lnTo>
                    <a:pt x="3449536" y="1305350"/>
                  </a:lnTo>
                  <a:lnTo>
                    <a:pt x="3496359" y="1277096"/>
                  </a:lnTo>
                  <a:lnTo>
                    <a:pt x="3540771" y="1246442"/>
                  </a:lnTo>
                  <a:lnTo>
                    <a:pt x="3581403" y="1214364"/>
                  </a:lnTo>
                  <a:lnTo>
                    <a:pt x="3616886" y="1181836"/>
                  </a:lnTo>
                  <a:lnTo>
                    <a:pt x="3653604" y="1140770"/>
                  </a:lnTo>
                  <a:lnTo>
                    <a:pt x="3683790" y="1097671"/>
                  </a:lnTo>
                  <a:lnTo>
                    <a:pt x="3707224" y="1053565"/>
                  </a:lnTo>
                  <a:lnTo>
                    <a:pt x="3723688" y="1009474"/>
                  </a:lnTo>
                  <a:lnTo>
                    <a:pt x="3732964" y="966423"/>
                  </a:lnTo>
                  <a:lnTo>
                    <a:pt x="3734832" y="925437"/>
                  </a:lnTo>
                  <a:lnTo>
                    <a:pt x="3729075" y="887539"/>
                  </a:lnTo>
                  <a:lnTo>
                    <a:pt x="3693810" y="825106"/>
                  </a:lnTo>
                  <a:lnTo>
                    <a:pt x="3631660" y="790129"/>
                  </a:lnTo>
                  <a:lnTo>
                    <a:pt x="3593934" y="784501"/>
                  </a:lnTo>
                  <a:lnTo>
                    <a:pt x="3553106" y="786499"/>
                  </a:lnTo>
                  <a:lnTo>
                    <a:pt x="3510177" y="795912"/>
                  </a:lnTo>
                  <a:lnTo>
                    <a:pt x="3466144" y="812527"/>
                  </a:lnTo>
                  <a:lnTo>
                    <a:pt x="3422008" y="836134"/>
                  </a:lnTo>
                  <a:lnTo>
                    <a:pt x="3378767" y="866521"/>
                  </a:lnTo>
                  <a:lnTo>
                    <a:pt x="3337422" y="903478"/>
                  </a:lnTo>
                  <a:lnTo>
                    <a:pt x="3305359" y="938158"/>
                  </a:lnTo>
                  <a:lnTo>
                    <a:pt x="3273826" y="978128"/>
                  </a:lnTo>
                  <a:lnTo>
                    <a:pt x="3243724" y="1022025"/>
                  </a:lnTo>
                  <a:lnTo>
                    <a:pt x="3215955" y="1068484"/>
                  </a:lnTo>
                  <a:lnTo>
                    <a:pt x="3191420" y="1116141"/>
                  </a:lnTo>
                  <a:lnTo>
                    <a:pt x="3171021" y="1163633"/>
                  </a:lnTo>
                  <a:lnTo>
                    <a:pt x="3155659" y="1209595"/>
                  </a:lnTo>
                  <a:lnTo>
                    <a:pt x="3146236" y="1252664"/>
                  </a:lnTo>
                  <a:lnTo>
                    <a:pt x="3057946" y="1340154"/>
                  </a:lnTo>
                  <a:lnTo>
                    <a:pt x="3021258" y="1307461"/>
                  </a:lnTo>
                  <a:lnTo>
                    <a:pt x="2983780" y="1275650"/>
                  </a:lnTo>
                  <a:lnTo>
                    <a:pt x="2945531" y="1244737"/>
                  </a:lnTo>
                  <a:lnTo>
                    <a:pt x="2906526" y="1214739"/>
                  </a:lnTo>
                  <a:lnTo>
                    <a:pt x="2866781" y="1185673"/>
                  </a:lnTo>
                  <a:lnTo>
                    <a:pt x="2826313" y="1157557"/>
                  </a:lnTo>
                  <a:lnTo>
                    <a:pt x="2785138" y="1130408"/>
                  </a:lnTo>
                  <a:lnTo>
                    <a:pt x="2743272" y="1104242"/>
                  </a:lnTo>
                  <a:lnTo>
                    <a:pt x="2700732" y="1079076"/>
                  </a:lnTo>
                  <a:lnTo>
                    <a:pt x="2657533" y="1054928"/>
                  </a:lnTo>
                  <a:lnTo>
                    <a:pt x="2613693" y="1031814"/>
                  </a:lnTo>
                  <a:lnTo>
                    <a:pt x="2569227" y="1009752"/>
                  </a:lnTo>
                  <a:lnTo>
                    <a:pt x="2524152" y="988759"/>
                  </a:lnTo>
                  <a:lnTo>
                    <a:pt x="2478483" y="968851"/>
                  </a:lnTo>
                  <a:lnTo>
                    <a:pt x="2432238" y="950045"/>
                  </a:lnTo>
                  <a:lnTo>
                    <a:pt x="2385432" y="932359"/>
                  </a:lnTo>
                  <a:lnTo>
                    <a:pt x="2338083" y="915810"/>
                  </a:lnTo>
                  <a:lnTo>
                    <a:pt x="2290205" y="900415"/>
                  </a:lnTo>
                  <a:lnTo>
                    <a:pt x="2241816" y="886190"/>
                  </a:lnTo>
                  <a:lnTo>
                    <a:pt x="2192931" y="873152"/>
                  </a:lnTo>
                  <a:lnTo>
                    <a:pt x="2143567" y="861319"/>
                  </a:lnTo>
                  <a:lnTo>
                    <a:pt x="2093741" y="850708"/>
                  </a:lnTo>
                  <a:lnTo>
                    <a:pt x="2043468" y="841336"/>
                  </a:lnTo>
                  <a:lnTo>
                    <a:pt x="1992765" y="833219"/>
                  </a:lnTo>
                  <a:lnTo>
                    <a:pt x="1941649" y="826376"/>
                  </a:lnTo>
                  <a:lnTo>
                    <a:pt x="1890134" y="820821"/>
                  </a:lnTo>
                  <a:lnTo>
                    <a:pt x="1838238" y="816574"/>
                  </a:lnTo>
                  <a:lnTo>
                    <a:pt x="1785978" y="813650"/>
                  </a:lnTo>
                  <a:lnTo>
                    <a:pt x="1785978" y="691083"/>
                  </a:lnTo>
                  <a:lnTo>
                    <a:pt x="1809737" y="654408"/>
                  </a:lnTo>
                  <a:lnTo>
                    <a:pt x="1831257" y="611159"/>
                  </a:lnTo>
                  <a:lnTo>
                    <a:pt x="1850250" y="562986"/>
                  </a:lnTo>
                  <a:lnTo>
                    <a:pt x="1866432" y="511540"/>
                  </a:lnTo>
                  <a:lnTo>
                    <a:pt x="1879516" y="458471"/>
                  </a:lnTo>
                  <a:lnTo>
                    <a:pt x="1889215" y="405429"/>
                  </a:lnTo>
                  <a:lnTo>
                    <a:pt x="1895245" y="354066"/>
                  </a:lnTo>
                  <a:lnTo>
                    <a:pt x="1897318" y="306031"/>
                  </a:lnTo>
                  <a:lnTo>
                    <a:pt x="1894141" y="251047"/>
                  </a:lnTo>
                  <a:lnTo>
                    <a:pt x="1884980" y="199285"/>
                  </a:lnTo>
                  <a:lnTo>
                    <a:pt x="1870394" y="151613"/>
                  </a:lnTo>
                  <a:lnTo>
                    <a:pt x="1850941" y="108898"/>
                  </a:lnTo>
                  <a:lnTo>
                    <a:pt x="1827178" y="72005"/>
                  </a:lnTo>
                  <a:lnTo>
                    <a:pt x="1799664" y="41803"/>
                  </a:lnTo>
                  <a:lnTo>
                    <a:pt x="1768956" y="19156"/>
                  </a:lnTo>
                  <a:lnTo>
                    <a:pt x="1700189" y="0"/>
                  </a:lnTo>
                  <a:lnTo>
                    <a:pt x="1664789" y="4933"/>
                  </a:lnTo>
                  <a:lnTo>
                    <a:pt x="1600644" y="41803"/>
                  </a:lnTo>
                  <a:lnTo>
                    <a:pt x="1573040" y="72005"/>
                  </a:lnTo>
                  <a:lnTo>
                    <a:pt x="1549176" y="108898"/>
                  </a:lnTo>
                  <a:lnTo>
                    <a:pt x="1529622" y="151613"/>
                  </a:lnTo>
                  <a:lnTo>
                    <a:pt x="1514949" y="199285"/>
                  </a:lnTo>
                  <a:lnTo>
                    <a:pt x="1505727" y="251047"/>
                  </a:lnTo>
                  <a:lnTo>
                    <a:pt x="1502526" y="306031"/>
                  </a:lnTo>
                  <a:lnTo>
                    <a:pt x="1504630" y="353786"/>
                  </a:lnTo>
                  <a:lnTo>
                    <a:pt x="1510738" y="404761"/>
                  </a:lnTo>
                  <a:lnTo>
                    <a:pt x="1520550" y="457367"/>
                  </a:lnTo>
                  <a:lnTo>
                    <a:pt x="1533762" y="510016"/>
                  </a:lnTo>
                  <a:lnTo>
                    <a:pt x="1550072" y="561117"/>
                  </a:lnTo>
                  <a:lnTo>
                    <a:pt x="1569177" y="609084"/>
                  </a:lnTo>
                  <a:lnTo>
                    <a:pt x="1590776" y="652325"/>
                  </a:lnTo>
                  <a:lnTo>
                    <a:pt x="1614566" y="689254"/>
                  </a:lnTo>
                  <a:lnTo>
                    <a:pt x="1614566" y="813650"/>
                  </a:lnTo>
                  <a:lnTo>
                    <a:pt x="1562305" y="816574"/>
                  </a:lnTo>
                  <a:lnTo>
                    <a:pt x="1510408" y="820821"/>
                  </a:lnTo>
                  <a:lnTo>
                    <a:pt x="1458892" y="826376"/>
                  </a:lnTo>
                  <a:lnTo>
                    <a:pt x="1407774" y="833219"/>
                  </a:lnTo>
                  <a:lnTo>
                    <a:pt x="1357069" y="841336"/>
                  </a:lnTo>
                  <a:lnTo>
                    <a:pt x="1306795" y="850708"/>
                  </a:lnTo>
                  <a:lnTo>
                    <a:pt x="1256966" y="861319"/>
                  </a:lnTo>
                  <a:lnTo>
                    <a:pt x="1207601" y="873152"/>
                  </a:lnTo>
                  <a:lnTo>
                    <a:pt x="1158714" y="886190"/>
                  </a:lnTo>
                  <a:lnTo>
                    <a:pt x="1110323" y="900415"/>
                  </a:lnTo>
                  <a:lnTo>
                    <a:pt x="1062444" y="915810"/>
                  </a:lnTo>
                  <a:lnTo>
                    <a:pt x="1015093" y="932359"/>
                  </a:lnTo>
                  <a:lnTo>
                    <a:pt x="968286" y="950045"/>
                  </a:lnTo>
                  <a:lnTo>
                    <a:pt x="922041" y="968851"/>
                  </a:lnTo>
                  <a:lnTo>
                    <a:pt x="876373" y="988759"/>
                  </a:lnTo>
                  <a:lnTo>
                    <a:pt x="831299" y="1009752"/>
                  </a:lnTo>
                  <a:lnTo>
                    <a:pt x="786834" y="1031814"/>
                  </a:lnTo>
                  <a:lnTo>
                    <a:pt x="742996" y="1054928"/>
                  </a:lnTo>
                  <a:lnTo>
                    <a:pt x="699801" y="1079076"/>
                  </a:lnTo>
                  <a:lnTo>
                    <a:pt x="657265" y="1104242"/>
                  </a:lnTo>
                  <a:lnTo>
                    <a:pt x="615405" y="1130408"/>
                  </a:lnTo>
                  <a:lnTo>
                    <a:pt x="574237" y="1157557"/>
                  </a:lnTo>
                  <a:lnTo>
                    <a:pt x="533777" y="1185673"/>
                  </a:lnTo>
                  <a:lnTo>
                    <a:pt x="494041" y="1214739"/>
                  </a:lnTo>
                  <a:lnTo>
                    <a:pt x="455047" y="1244737"/>
                  </a:lnTo>
                  <a:lnTo>
                    <a:pt x="416810" y="1275650"/>
                  </a:lnTo>
                  <a:lnTo>
                    <a:pt x="379346" y="1307461"/>
                  </a:lnTo>
                  <a:lnTo>
                    <a:pt x="342673" y="1340154"/>
                  </a:lnTo>
                  <a:lnTo>
                    <a:pt x="256504" y="1253731"/>
                  </a:lnTo>
                  <a:lnTo>
                    <a:pt x="247298" y="1210940"/>
                  </a:lnTo>
                  <a:lnTo>
                    <a:pt x="231883" y="1165107"/>
                  </a:lnTo>
                  <a:lnTo>
                    <a:pt x="211218" y="1117611"/>
                  </a:lnTo>
                  <a:lnTo>
                    <a:pt x="186263" y="1069832"/>
                  </a:lnTo>
                  <a:lnTo>
                    <a:pt x="157979" y="1023149"/>
                  </a:lnTo>
                  <a:lnTo>
                    <a:pt x="127323" y="978943"/>
                  </a:lnTo>
                  <a:lnTo>
                    <a:pt x="95257" y="938592"/>
                  </a:lnTo>
                  <a:lnTo>
                    <a:pt x="62740" y="903478"/>
                  </a:lnTo>
                  <a:lnTo>
                    <a:pt x="21601" y="866521"/>
                  </a:lnTo>
                  <a:lnTo>
                    <a:pt x="0" y="851297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52" name="object 22">
              <a:extLst>
                <a:ext uri="{FF2B5EF4-FFF2-40B4-BE49-F238E27FC236}">
                  <a16:creationId xmlns:a16="http://schemas.microsoft.com/office/drawing/2014/main" id="{89CEC62F-D7B5-D242-B727-151BEF04FD83}"/>
                </a:ext>
              </a:extLst>
            </p:cNvPr>
            <p:cNvSpPr/>
            <p:nvPr/>
          </p:nvSpPr>
          <p:spPr>
            <a:xfrm>
              <a:off x="13855" y="5328701"/>
              <a:ext cx="221615" cy="421005"/>
            </a:xfrm>
            <a:custGeom>
              <a:avLst/>
              <a:gdLst/>
              <a:ahLst/>
              <a:cxnLst/>
              <a:rect l="l" t="t" r="r" b="b"/>
              <a:pathLst>
                <a:path w="221615" h="421004">
                  <a:moveTo>
                    <a:pt x="0" y="0"/>
                  </a:moveTo>
                  <a:lnTo>
                    <a:pt x="44535" y="19088"/>
                  </a:lnTo>
                  <a:lnTo>
                    <a:pt x="90486" y="34336"/>
                  </a:lnTo>
                  <a:lnTo>
                    <a:pt x="133581" y="43571"/>
                  </a:lnTo>
                  <a:lnTo>
                    <a:pt x="221553" y="132217"/>
                  </a:lnTo>
                  <a:lnTo>
                    <a:pt x="188578" y="168800"/>
                  </a:lnTo>
                  <a:lnTo>
                    <a:pt x="156500" y="206192"/>
                  </a:lnTo>
                  <a:lnTo>
                    <a:pt x="125335" y="244376"/>
                  </a:lnTo>
                  <a:lnTo>
                    <a:pt x="95099" y="283333"/>
                  </a:lnTo>
                  <a:lnTo>
                    <a:pt x="65809" y="323046"/>
                  </a:lnTo>
                  <a:lnTo>
                    <a:pt x="37482" y="363498"/>
                  </a:lnTo>
                  <a:lnTo>
                    <a:pt x="10133" y="404672"/>
                  </a:lnTo>
                  <a:lnTo>
                    <a:pt x="0" y="420775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  <p:sp>
          <p:nvSpPr>
            <p:cNvPr id="53" name="object 23">
              <a:extLst>
                <a:ext uri="{FF2B5EF4-FFF2-40B4-BE49-F238E27FC236}">
                  <a16:creationId xmlns:a16="http://schemas.microsoft.com/office/drawing/2014/main" id="{7AF02738-43B7-A24E-B8E4-0B94CA521398}"/>
                </a:ext>
              </a:extLst>
            </p:cNvPr>
            <p:cNvSpPr/>
            <p:nvPr/>
          </p:nvSpPr>
          <p:spPr>
            <a:xfrm>
              <a:off x="3584901" y="6621736"/>
              <a:ext cx="948690" cy="938530"/>
            </a:xfrm>
            <a:custGeom>
              <a:avLst/>
              <a:gdLst/>
              <a:ahLst/>
              <a:cxnLst/>
              <a:rect l="l" t="t" r="r" b="b"/>
              <a:pathLst>
                <a:path w="948689" h="938529">
                  <a:moveTo>
                    <a:pt x="0" y="938319"/>
                  </a:moveTo>
                  <a:lnTo>
                    <a:pt x="20914" y="883321"/>
                  </a:lnTo>
                  <a:lnTo>
                    <a:pt x="37449" y="835763"/>
                  </a:lnTo>
                  <a:lnTo>
                    <a:pt x="52820" y="787681"/>
                  </a:lnTo>
                  <a:lnTo>
                    <a:pt x="67010" y="739091"/>
                  </a:lnTo>
                  <a:lnTo>
                    <a:pt x="80003" y="690011"/>
                  </a:lnTo>
                  <a:lnTo>
                    <a:pt x="91783" y="640457"/>
                  </a:lnTo>
                  <a:lnTo>
                    <a:pt x="102333" y="590446"/>
                  </a:lnTo>
                  <a:lnTo>
                    <a:pt x="111635" y="539996"/>
                  </a:lnTo>
                  <a:lnTo>
                    <a:pt x="119675" y="489125"/>
                  </a:lnTo>
                  <a:lnTo>
                    <a:pt x="126434" y="437848"/>
                  </a:lnTo>
                  <a:lnTo>
                    <a:pt x="131897" y="386184"/>
                  </a:lnTo>
                  <a:lnTo>
                    <a:pt x="136047" y="334150"/>
                  </a:lnTo>
                  <a:lnTo>
                    <a:pt x="138868" y="281762"/>
                  </a:lnTo>
                  <a:lnTo>
                    <a:pt x="256698" y="281762"/>
                  </a:lnTo>
                  <a:lnTo>
                    <a:pt x="293622" y="306078"/>
                  </a:lnTo>
                  <a:lnTo>
                    <a:pt x="337022" y="328022"/>
                  </a:lnTo>
                  <a:lnTo>
                    <a:pt x="385269" y="347326"/>
                  </a:lnTo>
                  <a:lnTo>
                    <a:pt x="436733" y="363721"/>
                  </a:lnTo>
                  <a:lnTo>
                    <a:pt x="489786" y="376940"/>
                  </a:lnTo>
                  <a:lnTo>
                    <a:pt x="542798" y="386714"/>
                  </a:lnTo>
                  <a:lnTo>
                    <a:pt x="594140" y="392775"/>
                  </a:lnTo>
                  <a:lnTo>
                    <a:pt x="642181" y="394855"/>
                  </a:lnTo>
                  <a:lnTo>
                    <a:pt x="697330" y="391662"/>
                  </a:lnTo>
                  <a:lnTo>
                    <a:pt x="749202" y="382459"/>
                  </a:lnTo>
                  <a:lnTo>
                    <a:pt x="796938" y="367810"/>
                  </a:lnTo>
                  <a:lnTo>
                    <a:pt x="839682" y="348282"/>
                  </a:lnTo>
                  <a:lnTo>
                    <a:pt x="876577" y="324438"/>
                  </a:lnTo>
                  <a:lnTo>
                    <a:pt x="906765" y="296843"/>
                  </a:lnTo>
                  <a:lnTo>
                    <a:pt x="929390" y="266063"/>
                  </a:lnTo>
                  <a:lnTo>
                    <a:pt x="948518" y="197205"/>
                  </a:lnTo>
                  <a:lnTo>
                    <a:pt x="943593" y="161556"/>
                  </a:lnTo>
                  <a:lnTo>
                    <a:pt x="906765" y="97332"/>
                  </a:lnTo>
                  <a:lnTo>
                    <a:pt x="876577" y="69834"/>
                  </a:lnTo>
                  <a:lnTo>
                    <a:pt x="839682" y="46128"/>
                  </a:lnTo>
                  <a:lnTo>
                    <a:pt x="796938" y="26754"/>
                  </a:lnTo>
                  <a:lnTo>
                    <a:pt x="749202" y="12249"/>
                  </a:lnTo>
                  <a:lnTo>
                    <a:pt x="697330" y="3152"/>
                  </a:lnTo>
                  <a:lnTo>
                    <a:pt x="642181" y="0"/>
                  </a:lnTo>
                  <a:lnTo>
                    <a:pt x="594736" y="2090"/>
                  </a:lnTo>
                  <a:lnTo>
                    <a:pt x="544010" y="8164"/>
                  </a:lnTo>
                  <a:lnTo>
                    <a:pt x="491590" y="17931"/>
                  </a:lnTo>
                  <a:lnTo>
                    <a:pt x="439059" y="31095"/>
                  </a:lnTo>
                  <a:lnTo>
                    <a:pt x="388003" y="47365"/>
                  </a:lnTo>
                  <a:lnTo>
                    <a:pt x="340006" y="66447"/>
                  </a:lnTo>
                  <a:lnTo>
                    <a:pt x="296653" y="88048"/>
                  </a:lnTo>
                  <a:lnTo>
                    <a:pt x="259530" y="111874"/>
                  </a:lnTo>
                </a:path>
              </a:pathLst>
            </a:custGeom>
            <a:ln w="47764">
              <a:solidFill>
                <a:srgbClr val="A4B4D9">
                  <a:alpha val="20000"/>
                </a:srgbClr>
              </a:solidFill>
            </a:ln>
          </p:spPr>
          <p:txBody>
            <a:bodyPr wrap="square" lIns="0" tIns="0" rIns="0" bIns="0" rtlCol="0"/>
            <a:lstStyle/>
            <a:p>
              <a:endParaRPr sz="1985">
                <a:solidFill>
                  <a:srgbClr val="004987"/>
                </a:solidFill>
              </a:endParaRPr>
            </a:p>
          </p:txBody>
        </p:sp>
      </p:grpSp>
      <p:sp>
        <p:nvSpPr>
          <p:cNvPr id="55" name="object 3">
            <a:extLst>
              <a:ext uri="{FF2B5EF4-FFF2-40B4-BE49-F238E27FC236}">
                <a16:creationId xmlns:a16="http://schemas.microsoft.com/office/drawing/2014/main" id="{A78500C0-6136-7444-A0FA-BBED1C32890F}"/>
              </a:ext>
            </a:extLst>
          </p:cNvPr>
          <p:cNvSpPr/>
          <p:nvPr userDrawn="1"/>
        </p:nvSpPr>
        <p:spPr>
          <a:xfrm>
            <a:off x="0" y="6475830"/>
            <a:ext cx="8836500" cy="94247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11925" b="23841"/>
            </a:stretch>
          </a:blipFill>
        </p:spPr>
        <p:txBody>
          <a:bodyPr wrap="square" lIns="0" tIns="0" rIns="0" bIns="0" rtlCol="0"/>
          <a:lstStyle/>
          <a:p>
            <a:endParaRPr sz="1985" dirty="0">
              <a:solidFill>
                <a:srgbClr val="004987"/>
              </a:solidFill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298006A6-7CDD-4EA7-B864-67F8C1A5B6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0205" y="2523369"/>
            <a:ext cx="7826513" cy="1302491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defRPr sz="463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0862D5E4-ECB0-4D01-B55E-E29C934EDCF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70205" y="3931380"/>
            <a:ext cx="7826513" cy="223690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646">
                <a:solidFill>
                  <a:schemeClr val="accent2"/>
                </a:solidFill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58125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slideLayout" Target="../slideLayouts/slideLayout65.xml"/><Relationship Id="rId39" Type="http://schemas.openxmlformats.org/officeDocument/2006/relationships/image" Target="../media/image42.svg"/><Relationship Id="rId21" Type="http://schemas.openxmlformats.org/officeDocument/2006/relationships/slideLayout" Target="../slideLayouts/slideLayout60.xml"/><Relationship Id="rId34" Type="http://schemas.openxmlformats.org/officeDocument/2006/relationships/tags" Target="../tags/tag6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slideLayout" Target="../slideLayouts/slideLayout64.xml"/><Relationship Id="rId33" Type="http://schemas.openxmlformats.org/officeDocument/2006/relationships/vmlDrawing" Target="../drawings/vmlDrawing3.vml"/><Relationship Id="rId38" Type="http://schemas.openxmlformats.org/officeDocument/2006/relationships/image" Target="../media/image34.png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29" Type="http://schemas.openxmlformats.org/officeDocument/2006/relationships/slideLayout" Target="../slideLayouts/slideLayout68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63.xml"/><Relationship Id="rId32" Type="http://schemas.openxmlformats.org/officeDocument/2006/relationships/theme" Target="../theme/theme2.xml"/><Relationship Id="rId37" Type="http://schemas.openxmlformats.org/officeDocument/2006/relationships/image" Target="../media/image1.emf"/><Relationship Id="rId40" Type="http://schemas.openxmlformats.org/officeDocument/2006/relationships/image" Target="../media/image21.png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slideLayout" Target="../slideLayouts/slideLayout67.xml"/><Relationship Id="rId36" Type="http://schemas.openxmlformats.org/officeDocument/2006/relationships/oleObject" Target="../embeddings/oleObject3.bin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31" Type="http://schemas.openxmlformats.org/officeDocument/2006/relationships/slideLayout" Target="../slideLayouts/slideLayout70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slideLayout" Target="../slideLayouts/slideLayout66.xml"/><Relationship Id="rId30" Type="http://schemas.openxmlformats.org/officeDocument/2006/relationships/slideLayout" Target="../slideLayouts/slideLayout69.xml"/><Relationship Id="rId35" Type="http://schemas.openxmlformats.org/officeDocument/2006/relationships/tags" Target="../tags/tag7.xml"/><Relationship Id="rId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4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015" name="Слайд think-cell" r:id="rId44" imgW="416" imgH="416" progId="TCLayout.ActiveDocument.1">
                  <p:embed/>
                </p:oleObj>
              </mc:Choice>
              <mc:Fallback>
                <p:oleObj name="Слайд think-cell" r:id="rId44" imgW="416" imgH="416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 userDrawn="1">
            <p:custDataLst>
              <p:tags r:id="rId4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852" b="1" i="0" baseline="0" dirty="0">
              <a:latin typeface="Ubuntu" panose="020B0604020202020204" charset="0"/>
              <a:ea typeface="+mj-ea"/>
              <a:cs typeface="+mj-cs"/>
              <a:sym typeface="Ubuntu" panose="020B0604020202020204" charset="0"/>
            </a:endParaRPr>
          </a:p>
        </p:txBody>
      </p:sp>
      <p:sp>
        <p:nvSpPr>
          <p:cNvPr id="9" name="object 13">
            <a:extLst>
              <a:ext uri="{FF2B5EF4-FFF2-40B4-BE49-F238E27FC236}">
                <a16:creationId xmlns:a16="http://schemas.microsoft.com/office/drawing/2014/main" id="{8BAADC13-3FB1-47FF-BEF7-4367887F1029}"/>
              </a:ext>
            </a:extLst>
          </p:cNvPr>
          <p:cNvSpPr/>
          <p:nvPr userDrawn="1"/>
        </p:nvSpPr>
        <p:spPr>
          <a:xfrm>
            <a:off x="0" y="442261"/>
            <a:ext cx="475571" cy="37721"/>
          </a:xfrm>
          <a:custGeom>
            <a:avLst/>
            <a:gdLst/>
            <a:ahLst/>
            <a:cxnLst/>
            <a:rect l="l" t="t" r="r" b="b"/>
            <a:pathLst>
              <a:path w="592455" h="46990">
                <a:moveTo>
                  <a:pt x="591988" y="46532"/>
                </a:moveTo>
                <a:lnTo>
                  <a:pt x="566283" y="39262"/>
                </a:lnTo>
                <a:lnTo>
                  <a:pt x="548696" y="23266"/>
                </a:lnTo>
                <a:lnTo>
                  <a:pt x="531111" y="7270"/>
                </a:lnTo>
                <a:lnTo>
                  <a:pt x="505413" y="0"/>
                </a:lnTo>
                <a:lnTo>
                  <a:pt x="479707" y="7270"/>
                </a:lnTo>
                <a:lnTo>
                  <a:pt x="462120" y="23266"/>
                </a:lnTo>
                <a:lnTo>
                  <a:pt x="444535" y="39262"/>
                </a:lnTo>
                <a:lnTo>
                  <a:pt x="418837" y="46532"/>
                </a:lnTo>
                <a:lnTo>
                  <a:pt x="393138" y="39262"/>
                </a:lnTo>
                <a:lnTo>
                  <a:pt x="375553" y="23266"/>
                </a:lnTo>
                <a:lnTo>
                  <a:pt x="357967" y="7270"/>
                </a:lnTo>
                <a:lnTo>
                  <a:pt x="332261" y="0"/>
                </a:lnTo>
                <a:lnTo>
                  <a:pt x="306562" y="7270"/>
                </a:lnTo>
                <a:lnTo>
                  <a:pt x="288981" y="23266"/>
                </a:lnTo>
                <a:lnTo>
                  <a:pt x="271401" y="39262"/>
                </a:lnTo>
                <a:lnTo>
                  <a:pt x="245710" y="46532"/>
                </a:lnTo>
                <a:lnTo>
                  <a:pt x="220012" y="39262"/>
                </a:lnTo>
                <a:lnTo>
                  <a:pt x="202429" y="23266"/>
                </a:lnTo>
                <a:lnTo>
                  <a:pt x="184845" y="7270"/>
                </a:lnTo>
                <a:lnTo>
                  <a:pt x="159147" y="0"/>
                </a:lnTo>
                <a:lnTo>
                  <a:pt x="133441" y="7270"/>
                </a:lnTo>
                <a:lnTo>
                  <a:pt x="115853" y="23266"/>
                </a:lnTo>
                <a:lnTo>
                  <a:pt x="98264" y="39262"/>
                </a:lnTo>
                <a:lnTo>
                  <a:pt x="72558" y="46532"/>
                </a:lnTo>
                <a:lnTo>
                  <a:pt x="46815" y="39262"/>
                </a:lnTo>
                <a:lnTo>
                  <a:pt x="29199" y="23266"/>
                </a:lnTo>
                <a:lnTo>
                  <a:pt x="11581" y="7270"/>
                </a:lnTo>
                <a:lnTo>
                  <a:pt x="0" y="400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985">
              <a:solidFill>
                <a:srgbClr val="004987"/>
              </a:solidFill>
            </a:endParaRPr>
          </a:p>
        </p:txBody>
      </p:sp>
      <p:sp>
        <p:nvSpPr>
          <p:cNvPr id="11" name="object 14">
            <a:extLst>
              <a:ext uri="{FF2B5EF4-FFF2-40B4-BE49-F238E27FC236}">
                <a16:creationId xmlns:a16="http://schemas.microsoft.com/office/drawing/2014/main" id="{520C87E5-963B-4DEC-8718-C7947BE1D4F2}"/>
              </a:ext>
            </a:extLst>
          </p:cNvPr>
          <p:cNvSpPr/>
          <p:nvPr userDrawn="1"/>
        </p:nvSpPr>
        <p:spPr>
          <a:xfrm>
            <a:off x="0" y="533767"/>
            <a:ext cx="475571" cy="37721"/>
          </a:xfrm>
          <a:custGeom>
            <a:avLst/>
            <a:gdLst/>
            <a:ahLst/>
            <a:cxnLst/>
            <a:rect l="l" t="t" r="r" b="b"/>
            <a:pathLst>
              <a:path w="592455" h="46990">
                <a:moveTo>
                  <a:pt x="591988" y="46532"/>
                </a:moveTo>
                <a:lnTo>
                  <a:pt x="566283" y="39262"/>
                </a:lnTo>
                <a:lnTo>
                  <a:pt x="548696" y="23266"/>
                </a:lnTo>
                <a:lnTo>
                  <a:pt x="531111" y="7270"/>
                </a:lnTo>
                <a:lnTo>
                  <a:pt x="505413" y="0"/>
                </a:lnTo>
                <a:lnTo>
                  <a:pt x="479707" y="7270"/>
                </a:lnTo>
                <a:lnTo>
                  <a:pt x="462120" y="23266"/>
                </a:lnTo>
                <a:lnTo>
                  <a:pt x="444535" y="39262"/>
                </a:lnTo>
                <a:lnTo>
                  <a:pt x="418837" y="46532"/>
                </a:lnTo>
                <a:lnTo>
                  <a:pt x="393138" y="39262"/>
                </a:lnTo>
                <a:lnTo>
                  <a:pt x="375553" y="23266"/>
                </a:lnTo>
                <a:lnTo>
                  <a:pt x="357967" y="7270"/>
                </a:lnTo>
                <a:lnTo>
                  <a:pt x="332261" y="0"/>
                </a:lnTo>
                <a:lnTo>
                  <a:pt x="306562" y="7270"/>
                </a:lnTo>
                <a:lnTo>
                  <a:pt x="288981" y="23266"/>
                </a:lnTo>
                <a:lnTo>
                  <a:pt x="271401" y="39262"/>
                </a:lnTo>
                <a:lnTo>
                  <a:pt x="245710" y="46532"/>
                </a:lnTo>
                <a:lnTo>
                  <a:pt x="220012" y="39262"/>
                </a:lnTo>
                <a:lnTo>
                  <a:pt x="202429" y="23266"/>
                </a:lnTo>
                <a:lnTo>
                  <a:pt x="184845" y="7270"/>
                </a:lnTo>
                <a:lnTo>
                  <a:pt x="159147" y="0"/>
                </a:lnTo>
                <a:lnTo>
                  <a:pt x="133441" y="7270"/>
                </a:lnTo>
                <a:lnTo>
                  <a:pt x="115853" y="23266"/>
                </a:lnTo>
                <a:lnTo>
                  <a:pt x="98264" y="39262"/>
                </a:lnTo>
                <a:lnTo>
                  <a:pt x="72558" y="46532"/>
                </a:lnTo>
                <a:lnTo>
                  <a:pt x="46815" y="39262"/>
                </a:lnTo>
                <a:lnTo>
                  <a:pt x="29199" y="23266"/>
                </a:lnTo>
                <a:lnTo>
                  <a:pt x="11581" y="7270"/>
                </a:lnTo>
                <a:lnTo>
                  <a:pt x="0" y="400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985">
              <a:solidFill>
                <a:srgbClr val="004987"/>
              </a:solidFill>
            </a:endParaRPr>
          </a:p>
        </p:txBody>
      </p:sp>
      <p:sp>
        <p:nvSpPr>
          <p:cNvPr id="12" name="object 15">
            <a:extLst>
              <a:ext uri="{FF2B5EF4-FFF2-40B4-BE49-F238E27FC236}">
                <a16:creationId xmlns:a16="http://schemas.microsoft.com/office/drawing/2014/main" id="{37064591-E219-4F09-83C6-69535F67A208}"/>
              </a:ext>
            </a:extLst>
          </p:cNvPr>
          <p:cNvSpPr/>
          <p:nvPr userDrawn="1"/>
        </p:nvSpPr>
        <p:spPr>
          <a:xfrm>
            <a:off x="0" y="625273"/>
            <a:ext cx="475571" cy="37721"/>
          </a:xfrm>
          <a:custGeom>
            <a:avLst/>
            <a:gdLst/>
            <a:ahLst/>
            <a:cxnLst/>
            <a:rect l="l" t="t" r="r" b="b"/>
            <a:pathLst>
              <a:path w="592455" h="46990">
                <a:moveTo>
                  <a:pt x="591988" y="46532"/>
                </a:moveTo>
                <a:lnTo>
                  <a:pt x="566283" y="39262"/>
                </a:lnTo>
                <a:lnTo>
                  <a:pt x="548696" y="23266"/>
                </a:lnTo>
                <a:lnTo>
                  <a:pt x="531111" y="7270"/>
                </a:lnTo>
                <a:lnTo>
                  <a:pt x="505413" y="0"/>
                </a:lnTo>
                <a:lnTo>
                  <a:pt x="479707" y="7270"/>
                </a:lnTo>
                <a:lnTo>
                  <a:pt x="462120" y="23266"/>
                </a:lnTo>
                <a:lnTo>
                  <a:pt x="444535" y="39262"/>
                </a:lnTo>
                <a:lnTo>
                  <a:pt x="418837" y="46532"/>
                </a:lnTo>
                <a:lnTo>
                  <a:pt x="393138" y="39262"/>
                </a:lnTo>
                <a:lnTo>
                  <a:pt x="375553" y="23266"/>
                </a:lnTo>
                <a:lnTo>
                  <a:pt x="357967" y="7270"/>
                </a:lnTo>
                <a:lnTo>
                  <a:pt x="332261" y="0"/>
                </a:lnTo>
                <a:lnTo>
                  <a:pt x="306562" y="7270"/>
                </a:lnTo>
                <a:lnTo>
                  <a:pt x="288981" y="23266"/>
                </a:lnTo>
                <a:lnTo>
                  <a:pt x="271401" y="39262"/>
                </a:lnTo>
                <a:lnTo>
                  <a:pt x="245710" y="46532"/>
                </a:lnTo>
                <a:lnTo>
                  <a:pt x="220012" y="39262"/>
                </a:lnTo>
                <a:lnTo>
                  <a:pt x="202429" y="23266"/>
                </a:lnTo>
                <a:lnTo>
                  <a:pt x="184845" y="7270"/>
                </a:lnTo>
                <a:lnTo>
                  <a:pt x="159147" y="0"/>
                </a:lnTo>
                <a:lnTo>
                  <a:pt x="133441" y="7270"/>
                </a:lnTo>
                <a:lnTo>
                  <a:pt x="115853" y="23266"/>
                </a:lnTo>
                <a:lnTo>
                  <a:pt x="98264" y="39262"/>
                </a:lnTo>
                <a:lnTo>
                  <a:pt x="72558" y="46532"/>
                </a:lnTo>
                <a:lnTo>
                  <a:pt x="46815" y="39262"/>
                </a:lnTo>
                <a:lnTo>
                  <a:pt x="29199" y="23266"/>
                </a:lnTo>
                <a:lnTo>
                  <a:pt x="11581" y="7270"/>
                </a:lnTo>
                <a:lnTo>
                  <a:pt x="0" y="400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985">
              <a:solidFill>
                <a:srgbClr val="0049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447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9" r:id="rId1"/>
    <p:sldLayoutId id="2147484010" r:id="rId2"/>
    <p:sldLayoutId id="2147484011" r:id="rId3"/>
    <p:sldLayoutId id="2147484012" r:id="rId4"/>
    <p:sldLayoutId id="2147484013" r:id="rId5"/>
    <p:sldLayoutId id="2147484014" r:id="rId6"/>
    <p:sldLayoutId id="2147484015" r:id="rId7"/>
    <p:sldLayoutId id="2147484016" r:id="rId8"/>
    <p:sldLayoutId id="2147484017" r:id="rId9"/>
    <p:sldLayoutId id="2147484018" r:id="rId10"/>
    <p:sldLayoutId id="2147484019" r:id="rId11"/>
    <p:sldLayoutId id="2147484020" r:id="rId12"/>
    <p:sldLayoutId id="2147484021" r:id="rId13"/>
    <p:sldLayoutId id="2147484022" r:id="rId14"/>
    <p:sldLayoutId id="2147484023" r:id="rId15"/>
    <p:sldLayoutId id="2147484024" r:id="rId16"/>
    <p:sldLayoutId id="2147484025" r:id="rId17"/>
    <p:sldLayoutId id="2147484026" r:id="rId18"/>
    <p:sldLayoutId id="2147484027" r:id="rId19"/>
    <p:sldLayoutId id="2147484028" r:id="rId20"/>
    <p:sldLayoutId id="2147484029" r:id="rId21"/>
    <p:sldLayoutId id="2147484030" r:id="rId22"/>
    <p:sldLayoutId id="2147484031" r:id="rId23"/>
    <p:sldLayoutId id="2147484032" r:id="rId24"/>
    <p:sldLayoutId id="2147484033" r:id="rId25"/>
    <p:sldLayoutId id="2147484034" r:id="rId26"/>
    <p:sldLayoutId id="2147484035" r:id="rId27"/>
    <p:sldLayoutId id="2147484036" r:id="rId28"/>
    <p:sldLayoutId id="2147484037" r:id="rId29"/>
    <p:sldLayoutId id="2147484038" r:id="rId30"/>
    <p:sldLayoutId id="2147484039" r:id="rId31"/>
    <p:sldLayoutId id="2147484043" r:id="rId32"/>
    <p:sldLayoutId id="2147484044" r:id="rId33"/>
    <p:sldLayoutId id="2147484045" r:id="rId34"/>
    <p:sldLayoutId id="2147484046" r:id="rId35"/>
    <p:sldLayoutId id="2147484048" r:id="rId36"/>
    <p:sldLayoutId id="2147484049" r:id="rId37"/>
    <p:sldLayoutId id="2147484050" r:id="rId38"/>
    <p:sldLayoutId id="2147484051" r:id="rId39"/>
  </p:sldLayoutIdLst>
  <p:txStyles>
    <p:titleStyle>
      <a:lvl1pPr algn="l" defTabSz="1008309" rtl="0" eaLnBrk="1" latinLnBrk="0" hangingPunct="1">
        <a:lnSpc>
          <a:spcPct val="90000"/>
        </a:lnSpc>
        <a:spcBef>
          <a:spcPct val="0"/>
        </a:spcBef>
        <a:buNone/>
        <a:defRPr sz="4852" b="1" i="0" kern="1200">
          <a:solidFill>
            <a:schemeClr val="tx1"/>
          </a:solidFill>
          <a:latin typeface="Ubuntu" panose="020B0504030602030204" pitchFamily="34" charset="0"/>
          <a:ea typeface="+mj-ea"/>
          <a:cs typeface="+mj-cs"/>
        </a:defRPr>
      </a:lvl1pPr>
    </p:titleStyle>
    <p:bodyStyle>
      <a:lvl1pPr marL="252077" indent="-252077" algn="l" defTabSz="1008309" rtl="0" eaLnBrk="1" latinLnBrk="0" hangingPunct="1">
        <a:lnSpc>
          <a:spcPct val="90000"/>
        </a:lnSpc>
        <a:spcBef>
          <a:spcPts val="1103"/>
        </a:spcBef>
        <a:buFont typeface="Arial" panose="020B0604020202020204" pitchFamily="34" charset="0"/>
        <a:buChar char="•"/>
        <a:defRPr sz="3529" b="0" i="0" kern="1200">
          <a:solidFill>
            <a:schemeClr val="bg2">
              <a:lumMod val="10000"/>
            </a:schemeClr>
          </a:solidFill>
          <a:latin typeface="Ubuntu" panose="020B0504030602030204" pitchFamily="34" charset="0"/>
          <a:ea typeface="+mn-ea"/>
          <a:cs typeface="+mn-cs"/>
        </a:defRPr>
      </a:lvl1pPr>
      <a:lvl2pPr marL="756232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3088" b="0" i="0" kern="1200">
          <a:solidFill>
            <a:schemeClr val="bg2">
              <a:lumMod val="10000"/>
            </a:schemeClr>
          </a:solidFill>
          <a:latin typeface="Ubuntu" panose="020B0504030602030204" pitchFamily="34" charset="0"/>
          <a:ea typeface="+mn-ea"/>
          <a:cs typeface="+mn-cs"/>
        </a:defRPr>
      </a:lvl2pPr>
      <a:lvl3pPr marL="1260386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b="0" i="0" kern="1200">
          <a:solidFill>
            <a:schemeClr val="bg2">
              <a:lumMod val="10000"/>
            </a:schemeClr>
          </a:solidFill>
          <a:latin typeface="Ubuntu" panose="020B0504030602030204" pitchFamily="34" charset="0"/>
          <a:ea typeface="+mn-ea"/>
          <a:cs typeface="+mn-cs"/>
        </a:defRPr>
      </a:lvl3pPr>
      <a:lvl4pPr marL="1764541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b="0" i="0" kern="1200">
          <a:solidFill>
            <a:schemeClr val="bg2">
              <a:lumMod val="10000"/>
            </a:schemeClr>
          </a:solidFill>
          <a:latin typeface="Ubuntu" panose="020B0504030602030204" pitchFamily="34" charset="0"/>
          <a:ea typeface="+mn-ea"/>
          <a:cs typeface="+mn-cs"/>
        </a:defRPr>
      </a:lvl4pPr>
      <a:lvl5pPr marL="2268695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b="0" i="0" kern="1200">
          <a:solidFill>
            <a:schemeClr val="bg2">
              <a:lumMod val="10000"/>
            </a:schemeClr>
          </a:solidFill>
          <a:latin typeface="Ubuntu" panose="020B0504030602030204" pitchFamily="34" charset="0"/>
          <a:ea typeface="+mn-ea"/>
          <a:cs typeface="+mn-cs"/>
        </a:defRPr>
      </a:lvl5pPr>
      <a:lvl6pPr marL="2772849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277004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781158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285313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154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309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463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618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772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927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9081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3236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846">
          <p15:clr>
            <a:srgbClr val="F26B43"/>
          </p15:clr>
        </p15:guide>
        <p15:guide id="4" pos="3296">
          <p15:clr>
            <a:srgbClr val="F26B43"/>
          </p15:clr>
        </p15:guide>
        <p15:guide id="5" pos="347">
          <p15:clr>
            <a:srgbClr val="F26B43"/>
          </p15:clr>
        </p15:guide>
        <p15:guide id="6" pos="3795">
          <p15:clr>
            <a:srgbClr val="F26B43"/>
          </p15:clr>
        </p15:guide>
        <p15:guide id="7" pos="2026">
          <p15:clr>
            <a:srgbClr val="F26B43"/>
          </p15:clr>
        </p15:guide>
        <p15:guide id="8" pos="2706">
          <p15:clr>
            <a:srgbClr val="F26B43"/>
          </p15:clr>
        </p15:guide>
        <p15:guide id="9" pos="2116">
          <p15:clr>
            <a:srgbClr val="F26B43"/>
          </p15:clr>
        </p15:guide>
        <p15:guide id="10" pos="2615">
          <p15:clr>
            <a:srgbClr val="F26B43"/>
          </p15:clr>
        </p15:guide>
        <p15:guide id="11" pos="3205">
          <p15:clr>
            <a:srgbClr val="F26B43"/>
          </p15:clr>
        </p15:guide>
        <p15:guide id="12" pos="1436">
          <p15:clr>
            <a:srgbClr val="F26B43"/>
          </p15:clr>
        </p15:guide>
        <p15:guide id="13" pos="1527">
          <p15:clr>
            <a:srgbClr val="F26B43"/>
          </p15:clr>
        </p15:guide>
        <p15:guide id="14" pos="937">
          <p15:clr>
            <a:srgbClr val="F26B43"/>
          </p15:clr>
        </p15:guide>
        <p15:guide id="15" pos="3885">
          <p15:clr>
            <a:srgbClr val="F26B43"/>
          </p15:clr>
        </p15:guide>
        <p15:guide id="16" pos="4384">
          <p15:clr>
            <a:srgbClr val="F26B43"/>
          </p15:clr>
        </p15:guide>
        <p15:guide id="17" pos="4475">
          <p15:clr>
            <a:srgbClr val="F26B43"/>
          </p15:clr>
        </p15:guide>
        <p15:guide id="18" pos="4974">
          <p15:clr>
            <a:srgbClr val="F26B43"/>
          </p15:clr>
        </p15:guide>
        <p15:guide id="19" pos="5065">
          <p15:clr>
            <a:srgbClr val="F26B43"/>
          </p15:clr>
        </p15:guide>
        <p15:guide id="20" pos="5564">
          <p15:clr>
            <a:srgbClr val="F26B43"/>
          </p15:clr>
        </p15:guide>
        <p15:guide id="21" pos="5654">
          <p15:clr>
            <a:srgbClr val="F26B43"/>
          </p15:clr>
        </p15:guide>
        <p15:guide id="22" pos="6153">
          <p15:clr>
            <a:srgbClr val="F26B43"/>
          </p15:clr>
        </p15:guide>
        <p15:guide id="23" pos="6244">
          <p15:clr>
            <a:srgbClr val="F26B43"/>
          </p15:clr>
        </p15:guide>
        <p15:guide id="24" pos="6743">
          <p15:clr>
            <a:srgbClr val="F26B43"/>
          </p15:clr>
        </p15:guide>
        <p15:guide id="25" pos="6834">
          <p15:clr>
            <a:srgbClr val="F26B43"/>
          </p15:clr>
        </p15:guide>
        <p15:guide id="26" pos="7333">
          <p15:clr>
            <a:srgbClr val="F26B43"/>
          </p15:clr>
        </p15:guide>
        <p15:guide id="27" orient="horz" pos="572">
          <p15:clr>
            <a:srgbClr val="F26B43"/>
          </p15:clr>
        </p15:guide>
        <p15:guide id="28" orient="horz" pos="397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969785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989" name="Слайд think-cell" r:id="rId36" imgW="416" imgH="416" progId="TCLayout.ActiveDocument.1">
                  <p:embed/>
                </p:oleObj>
              </mc:Choice>
              <mc:Fallback>
                <p:oleObj name="Слайд think-cell" r:id="rId36" imgW="416" imgH="416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852" b="1" i="0" baseline="0" dirty="0">
              <a:latin typeface="Ubuntu" panose="020B0604020202020204" charset="0"/>
              <a:ea typeface="+mj-ea"/>
              <a:cs typeface="+mj-cs"/>
              <a:sym typeface="Ubuntu" panose="020B060402020202020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F45F01C-0974-4941-9EE7-CFA608E21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6677" y="1396520"/>
            <a:ext cx="11892668" cy="801803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D9703A-F67A-B34A-9FD5-B7FDC39AE4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6677" y="2506947"/>
            <a:ext cx="11892668" cy="4304870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AB57C7-739B-6740-A96F-82A63833FF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9378" y="7009642"/>
            <a:ext cx="1391514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bg1">
                    <a:lumMod val="85000"/>
                  </a:schemeClr>
                </a:solidFill>
                <a:latin typeface="Ubuntu" panose="020B0504030602030204" pitchFamily="34" charset="0"/>
              </a:defRPr>
            </a:lvl1pPr>
          </a:lstStyle>
          <a:p>
            <a:fld id="{D2FF81E4-D8C0-9744-AF45-9BB17D958942}" type="datetimeFigureOut">
              <a:rPr lang="ru-RU" smtClean="0">
                <a:solidFill>
                  <a:srgbClr val="FFFFFF">
                    <a:lumMod val="85000"/>
                  </a:srgbClr>
                </a:solidFill>
              </a:rPr>
              <a:pPr/>
              <a:t>18.10.2022</a:t>
            </a:fld>
            <a:endParaRPr lang="ru-RU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09E558-933A-F14D-98C5-BB4961E348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15535" y="7009642"/>
            <a:ext cx="722748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bg1">
                    <a:lumMod val="85000"/>
                  </a:schemeClr>
                </a:solidFill>
                <a:latin typeface="Ubuntu" panose="020B0504030602030204" pitchFamily="34" charset="0"/>
              </a:defRPr>
            </a:lvl1pPr>
          </a:lstStyle>
          <a:p>
            <a:fld id="{AE66B4A3-4129-F34A-ABB8-07862CFF62C7}" type="slidenum">
              <a:rPr lang="ru-RU" smtClean="0">
                <a:solidFill>
                  <a:srgbClr val="FFFFFF">
                    <a:lumMod val="8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FFFFFF">
                  <a:lumMod val="85000"/>
                </a:srgbClr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C383954-6229-BB4C-B969-93B5EB7F0845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9"/>
              </a:ext>
            </a:extLst>
          </a:blip>
          <a:stretch>
            <a:fillRect/>
          </a:stretch>
        </p:blipFill>
        <p:spPr>
          <a:xfrm>
            <a:off x="740842" y="387823"/>
            <a:ext cx="1949174" cy="369685"/>
          </a:xfrm>
          <a:prstGeom prst="rect">
            <a:avLst/>
          </a:prstGeom>
        </p:spPr>
      </p:pic>
      <p:sp>
        <p:nvSpPr>
          <p:cNvPr id="9" name="object 13">
            <a:extLst>
              <a:ext uri="{FF2B5EF4-FFF2-40B4-BE49-F238E27FC236}">
                <a16:creationId xmlns:a16="http://schemas.microsoft.com/office/drawing/2014/main" id="{8BAADC13-3FB1-47FF-BEF7-4367887F1029}"/>
              </a:ext>
            </a:extLst>
          </p:cNvPr>
          <p:cNvSpPr/>
          <p:nvPr userDrawn="1"/>
        </p:nvSpPr>
        <p:spPr>
          <a:xfrm>
            <a:off x="0" y="442261"/>
            <a:ext cx="475571" cy="37721"/>
          </a:xfrm>
          <a:custGeom>
            <a:avLst/>
            <a:gdLst/>
            <a:ahLst/>
            <a:cxnLst/>
            <a:rect l="l" t="t" r="r" b="b"/>
            <a:pathLst>
              <a:path w="592455" h="46990">
                <a:moveTo>
                  <a:pt x="591988" y="46532"/>
                </a:moveTo>
                <a:lnTo>
                  <a:pt x="566283" y="39262"/>
                </a:lnTo>
                <a:lnTo>
                  <a:pt x="548696" y="23266"/>
                </a:lnTo>
                <a:lnTo>
                  <a:pt x="531111" y="7270"/>
                </a:lnTo>
                <a:lnTo>
                  <a:pt x="505413" y="0"/>
                </a:lnTo>
                <a:lnTo>
                  <a:pt x="479707" y="7270"/>
                </a:lnTo>
                <a:lnTo>
                  <a:pt x="462120" y="23266"/>
                </a:lnTo>
                <a:lnTo>
                  <a:pt x="444535" y="39262"/>
                </a:lnTo>
                <a:lnTo>
                  <a:pt x="418837" y="46532"/>
                </a:lnTo>
                <a:lnTo>
                  <a:pt x="393138" y="39262"/>
                </a:lnTo>
                <a:lnTo>
                  <a:pt x="375553" y="23266"/>
                </a:lnTo>
                <a:lnTo>
                  <a:pt x="357967" y="7270"/>
                </a:lnTo>
                <a:lnTo>
                  <a:pt x="332261" y="0"/>
                </a:lnTo>
                <a:lnTo>
                  <a:pt x="306562" y="7270"/>
                </a:lnTo>
                <a:lnTo>
                  <a:pt x="288981" y="23266"/>
                </a:lnTo>
                <a:lnTo>
                  <a:pt x="271401" y="39262"/>
                </a:lnTo>
                <a:lnTo>
                  <a:pt x="245710" y="46532"/>
                </a:lnTo>
                <a:lnTo>
                  <a:pt x="220012" y="39262"/>
                </a:lnTo>
                <a:lnTo>
                  <a:pt x="202429" y="23266"/>
                </a:lnTo>
                <a:lnTo>
                  <a:pt x="184845" y="7270"/>
                </a:lnTo>
                <a:lnTo>
                  <a:pt x="159147" y="0"/>
                </a:lnTo>
                <a:lnTo>
                  <a:pt x="133441" y="7270"/>
                </a:lnTo>
                <a:lnTo>
                  <a:pt x="115853" y="23266"/>
                </a:lnTo>
                <a:lnTo>
                  <a:pt x="98264" y="39262"/>
                </a:lnTo>
                <a:lnTo>
                  <a:pt x="72558" y="46532"/>
                </a:lnTo>
                <a:lnTo>
                  <a:pt x="46815" y="39262"/>
                </a:lnTo>
                <a:lnTo>
                  <a:pt x="29199" y="23266"/>
                </a:lnTo>
                <a:lnTo>
                  <a:pt x="11581" y="7270"/>
                </a:lnTo>
                <a:lnTo>
                  <a:pt x="0" y="400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985">
              <a:solidFill>
                <a:srgbClr val="004987"/>
              </a:solidFill>
            </a:endParaRPr>
          </a:p>
        </p:txBody>
      </p:sp>
      <p:sp>
        <p:nvSpPr>
          <p:cNvPr id="11" name="object 14">
            <a:extLst>
              <a:ext uri="{FF2B5EF4-FFF2-40B4-BE49-F238E27FC236}">
                <a16:creationId xmlns:a16="http://schemas.microsoft.com/office/drawing/2014/main" id="{520C87E5-963B-4DEC-8718-C7947BE1D4F2}"/>
              </a:ext>
            </a:extLst>
          </p:cNvPr>
          <p:cNvSpPr/>
          <p:nvPr userDrawn="1"/>
        </p:nvSpPr>
        <p:spPr>
          <a:xfrm>
            <a:off x="0" y="533767"/>
            <a:ext cx="475571" cy="37721"/>
          </a:xfrm>
          <a:custGeom>
            <a:avLst/>
            <a:gdLst/>
            <a:ahLst/>
            <a:cxnLst/>
            <a:rect l="l" t="t" r="r" b="b"/>
            <a:pathLst>
              <a:path w="592455" h="46990">
                <a:moveTo>
                  <a:pt x="591988" y="46532"/>
                </a:moveTo>
                <a:lnTo>
                  <a:pt x="566283" y="39262"/>
                </a:lnTo>
                <a:lnTo>
                  <a:pt x="548696" y="23266"/>
                </a:lnTo>
                <a:lnTo>
                  <a:pt x="531111" y="7270"/>
                </a:lnTo>
                <a:lnTo>
                  <a:pt x="505413" y="0"/>
                </a:lnTo>
                <a:lnTo>
                  <a:pt x="479707" y="7270"/>
                </a:lnTo>
                <a:lnTo>
                  <a:pt x="462120" y="23266"/>
                </a:lnTo>
                <a:lnTo>
                  <a:pt x="444535" y="39262"/>
                </a:lnTo>
                <a:lnTo>
                  <a:pt x="418837" y="46532"/>
                </a:lnTo>
                <a:lnTo>
                  <a:pt x="393138" y="39262"/>
                </a:lnTo>
                <a:lnTo>
                  <a:pt x="375553" y="23266"/>
                </a:lnTo>
                <a:lnTo>
                  <a:pt x="357967" y="7270"/>
                </a:lnTo>
                <a:lnTo>
                  <a:pt x="332261" y="0"/>
                </a:lnTo>
                <a:lnTo>
                  <a:pt x="306562" y="7270"/>
                </a:lnTo>
                <a:lnTo>
                  <a:pt x="288981" y="23266"/>
                </a:lnTo>
                <a:lnTo>
                  <a:pt x="271401" y="39262"/>
                </a:lnTo>
                <a:lnTo>
                  <a:pt x="245710" y="46532"/>
                </a:lnTo>
                <a:lnTo>
                  <a:pt x="220012" y="39262"/>
                </a:lnTo>
                <a:lnTo>
                  <a:pt x="202429" y="23266"/>
                </a:lnTo>
                <a:lnTo>
                  <a:pt x="184845" y="7270"/>
                </a:lnTo>
                <a:lnTo>
                  <a:pt x="159147" y="0"/>
                </a:lnTo>
                <a:lnTo>
                  <a:pt x="133441" y="7270"/>
                </a:lnTo>
                <a:lnTo>
                  <a:pt x="115853" y="23266"/>
                </a:lnTo>
                <a:lnTo>
                  <a:pt x="98264" y="39262"/>
                </a:lnTo>
                <a:lnTo>
                  <a:pt x="72558" y="46532"/>
                </a:lnTo>
                <a:lnTo>
                  <a:pt x="46815" y="39262"/>
                </a:lnTo>
                <a:lnTo>
                  <a:pt x="29199" y="23266"/>
                </a:lnTo>
                <a:lnTo>
                  <a:pt x="11581" y="7270"/>
                </a:lnTo>
                <a:lnTo>
                  <a:pt x="0" y="400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985">
              <a:solidFill>
                <a:srgbClr val="004987"/>
              </a:solidFill>
            </a:endParaRPr>
          </a:p>
        </p:txBody>
      </p:sp>
      <p:sp>
        <p:nvSpPr>
          <p:cNvPr id="12" name="object 15">
            <a:extLst>
              <a:ext uri="{FF2B5EF4-FFF2-40B4-BE49-F238E27FC236}">
                <a16:creationId xmlns:a16="http://schemas.microsoft.com/office/drawing/2014/main" id="{37064591-E219-4F09-83C6-69535F67A208}"/>
              </a:ext>
            </a:extLst>
          </p:cNvPr>
          <p:cNvSpPr/>
          <p:nvPr userDrawn="1"/>
        </p:nvSpPr>
        <p:spPr>
          <a:xfrm>
            <a:off x="0" y="625273"/>
            <a:ext cx="475571" cy="37721"/>
          </a:xfrm>
          <a:custGeom>
            <a:avLst/>
            <a:gdLst/>
            <a:ahLst/>
            <a:cxnLst/>
            <a:rect l="l" t="t" r="r" b="b"/>
            <a:pathLst>
              <a:path w="592455" h="46990">
                <a:moveTo>
                  <a:pt x="591988" y="46532"/>
                </a:moveTo>
                <a:lnTo>
                  <a:pt x="566283" y="39262"/>
                </a:lnTo>
                <a:lnTo>
                  <a:pt x="548696" y="23266"/>
                </a:lnTo>
                <a:lnTo>
                  <a:pt x="531111" y="7270"/>
                </a:lnTo>
                <a:lnTo>
                  <a:pt x="505413" y="0"/>
                </a:lnTo>
                <a:lnTo>
                  <a:pt x="479707" y="7270"/>
                </a:lnTo>
                <a:lnTo>
                  <a:pt x="462120" y="23266"/>
                </a:lnTo>
                <a:lnTo>
                  <a:pt x="444535" y="39262"/>
                </a:lnTo>
                <a:lnTo>
                  <a:pt x="418837" y="46532"/>
                </a:lnTo>
                <a:lnTo>
                  <a:pt x="393138" y="39262"/>
                </a:lnTo>
                <a:lnTo>
                  <a:pt x="375553" y="23266"/>
                </a:lnTo>
                <a:lnTo>
                  <a:pt x="357967" y="7270"/>
                </a:lnTo>
                <a:lnTo>
                  <a:pt x="332261" y="0"/>
                </a:lnTo>
                <a:lnTo>
                  <a:pt x="306562" y="7270"/>
                </a:lnTo>
                <a:lnTo>
                  <a:pt x="288981" y="23266"/>
                </a:lnTo>
                <a:lnTo>
                  <a:pt x="271401" y="39262"/>
                </a:lnTo>
                <a:lnTo>
                  <a:pt x="245710" y="46532"/>
                </a:lnTo>
                <a:lnTo>
                  <a:pt x="220012" y="39262"/>
                </a:lnTo>
                <a:lnTo>
                  <a:pt x="202429" y="23266"/>
                </a:lnTo>
                <a:lnTo>
                  <a:pt x="184845" y="7270"/>
                </a:lnTo>
                <a:lnTo>
                  <a:pt x="159147" y="0"/>
                </a:lnTo>
                <a:lnTo>
                  <a:pt x="133441" y="7270"/>
                </a:lnTo>
                <a:lnTo>
                  <a:pt x="115853" y="23266"/>
                </a:lnTo>
                <a:lnTo>
                  <a:pt x="98264" y="39262"/>
                </a:lnTo>
                <a:lnTo>
                  <a:pt x="72558" y="46532"/>
                </a:lnTo>
                <a:lnTo>
                  <a:pt x="46815" y="39262"/>
                </a:lnTo>
                <a:lnTo>
                  <a:pt x="29199" y="23266"/>
                </a:lnTo>
                <a:lnTo>
                  <a:pt x="11581" y="7270"/>
                </a:lnTo>
                <a:lnTo>
                  <a:pt x="0" y="400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985">
              <a:solidFill>
                <a:srgbClr val="004987"/>
              </a:solidFill>
            </a:endParaRP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34AAFE78-D1D8-40CE-882A-D985D2828507}"/>
              </a:ext>
            </a:extLst>
          </p:cNvPr>
          <p:cNvSpPr txBox="1">
            <a:spLocks/>
          </p:cNvSpPr>
          <p:nvPr userDrawn="1"/>
        </p:nvSpPr>
        <p:spPr>
          <a:xfrm>
            <a:off x="10838788" y="466411"/>
            <a:ext cx="1998296" cy="180317"/>
          </a:xfrm>
          <a:prstGeom prst="rect">
            <a:avLst/>
          </a:prstGeom>
        </p:spPr>
        <p:txBody>
          <a:bodyPr vert="horz" lIns="0" tIns="50417" rIns="0" bIns="50417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en-US" sz="1103" dirty="0">
                <a:solidFill>
                  <a:srgbClr val="004987"/>
                </a:solidFill>
              </a:rPr>
              <a:t>communigate.ru</a:t>
            </a:r>
            <a:endParaRPr lang="ru-RU" sz="1103" dirty="0">
              <a:solidFill>
                <a:srgbClr val="004987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274C247-229D-47AB-AA58-05C197BBD627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5833" y="444955"/>
            <a:ext cx="620939" cy="199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1196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  <p:sldLayoutId id="2147483979" r:id="rId3"/>
    <p:sldLayoutId id="2147483980" r:id="rId4"/>
    <p:sldLayoutId id="2147483981" r:id="rId5"/>
    <p:sldLayoutId id="2147483982" r:id="rId6"/>
    <p:sldLayoutId id="2147483983" r:id="rId7"/>
    <p:sldLayoutId id="2147483984" r:id="rId8"/>
    <p:sldLayoutId id="2147483985" r:id="rId9"/>
    <p:sldLayoutId id="2147483986" r:id="rId10"/>
    <p:sldLayoutId id="2147483987" r:id="rId11"/>
    <p:sldLayoutId id="2147483988" r:id="rId12"/>
    <p:sldLayoutId id="2147483989" r:id="rId13"/>
    <p:sldLayoutId id="2147483990" r:id="rId14"/>
    <p:sldLayoutId id="2147483991" r:id="rId15"/>
    <p:sldLayoutId id="2147483992" r:id="rId16"/>
    <p:sldLayoutId id="2147483993" r:id="rId17"/>
    <p:sldLayoutId id="2147483994" r:id="rId18"/>
    <p:sldLayoutId id="2147483995" r:id="rId19"/>
    <p:sldLayoutId id="2147483996" r:id="rId20"/>
    <p:sldLayoutId id="2147483997" r:id="rId21"/>
    <p:sldLayoutId id="2147483998" r:id="rId22"/>
    <p:sldLayoutId id="2147483999" r:id="rId23"/>
    <p:sldLayoutId id="2147484000" r:id="rId24"/>
    <p:sldLayoutId id="2147484001" r:id="rId25"/>
    <p:sldLayoutId id="2147484002" r:id="rId26"/>
    <p:sldLayoutId id="2147484003" r:id="rId27"/>
    <p:sldLayoutId id="2147484004" r:id="rId28"/>
    <p:sldLayoutId id="2147484005" r:id="rId29"/>
    <p:sldLayoutId id="2147484006" r:id="rId30"/>
    <p:sldLayoutId id="2147484007" r:id="rId31"/>
  </p:sldLayoutIdLst>
  <p:txStyles>
    <p:titleStyle>
      <a:lvl1pPr algn="l" defTabSz="1008309" rtl="0" eaLnBrk="1" latinLnBrk="0" hangingPunct="1">
        <a:lnSpc>
          <a:spcPct val="90000"/>
        </a:lnSpc>
        <a:spcBef>
          <a:spcPct val="0"/>
        </a:spcBef>
        <a:buNone/>
        <a:defRPr sz="4852" b="1" i="0" kern="1200">
          <a:solidFill>
            <a:schemeClr val="tx1"/>
          </a:solidFill>
          <a:latin typeface="Ubuntu" panose="020B0504030602030204" pitchFamily="34" charset="0"/>
          <a:ea typeface="+mj-ea"/>
          <a:cs typeface="+mj-cs"/>
        </a:defRPr>
      </a:lvl1pPr>
    </p:titleStyle>
    <p:bodyStyle>
      <a:lvl1pPr marL="252077" indent="-252077" algn="l" defTabSz="1008309" rtl="0" eaLnBrk="1" latinLnBrk="0" hangingPunct="1">
        <a:lnSpc>
          <a:spcPct val="90000"/>
        </a:lnSpc>
        <a:spcBef>
          <a:spcPts val="1103"/>
        </a:spcBef>
        <a:buFont typeface="Arial" panose="020B0604020202020204" pitchFamily="34" charset="0"/>
        <a:buChar char="•"/>
        <a:defRPr sz="3529" b="0" i="0" kern="1200">
          <a:solidFill>
            <a:schemeClr val="bg2">
              <a:lumMod val="10000"/>
            </a:schemeClr>
          </a:solidFill>
          <a:latin typeface="Ubuntu" panose="020B0504030602030204" pitchFamily="34" charset="0"/>
          <a:ea typeface="+mn-ea"/>
          <a:cs typeface="+mn-cs"/>
        </a:defRPr>
      </a:lvl1pPr>
      <a:lvl2pPr marL="756232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3088" b="0" i="0" kern="1200">
          <a:solidFill>
            <a:schemeClr val="bg2">
              <a:lumMod val="10000"/>
            </a:schemeClr>
          </a:solidFill>
          <a:latin typeface="Ubuntu" panose="020B0504030602030204" pitchFamily="34" charset="0"/>
          <a:ea typeface="+mn-ea"/>
          <a:cs typeface="+mn-cs"/>
        </a:defRPr>
      </a:lvl2pPr>
      <a:lvl3pPr marL="1260386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b="0" i="0" kern="1200">
          <a:solidFill>
            <a:schemeClr val="bg2">
              <a:lumMod val="10000"/>
            </a:schemeClr>
          </a:solidFill>
          <a:latin typeface="Ubuntu" panose="020B0504030602030204" pitchFamily="34" charset="0"/>
          <a:ea typeface="+mn-ea"/>
          <a:cs typeface="+mn-cs"/>
        </a:defRPr>
      </a:lvl3pPr>
      <a:lvl4pPr marL="1764541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b="0" i="0" kern="1200">
          <a:solidFill>
            <a:schemeClr val="bg2">
              <a:lumMod val="10000"/>
            </a:schemeClr>
          </a:solidFill>
          <a:latin typeface="Ubuntu" panose="020B0504030602030204" pitchFamily="34" charset="0"/>
          <a:ea typeface="+mn-ea"/>
          <a:cs typeface="+mn-cs"/>
        </a:defRPr>
      </a:lvl4pPr>
      <a:lvl5pPr marL="2268695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b="0" i="0" kern="1200">
          <a:solidFill>
            <a:schemeClr val="bg2">
              <a:lumMod val="10000"/>
            </a:schemeClr>
          </a:solidFill>
          <a:latin typeface="Ubuntu" panose="020B0504030602030204" pitchFamily="34" charset="0"/>
          <a:ea typeface="+mn-ea"/>
          <a:cs typeface="+mn-cs"/>
        </a:defRPr>
      </a:lvl5pPr>
      <a:lvl6pPr marL="2772849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277004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781158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285313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154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309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463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618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772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927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9081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3236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846">
          <p15:clr>
            <a:srgbClr val="F26B43"/>
          </p15:clr>
        </p15:guide>
        <p15:guide id="4" pos="3296">
          <p15:clr>
            <a:srgbClr val="F26B43"/>
          </p15:clr>
        </p15:guide>
        <p15:guide id="5" pos="347">
          <p15:clr>
            <a:srgbClr val="F26B43"/>
          </p15:clr>
        </p15:guide>
        <p15:guide id="6" pos="3795">
          <p15:clr>
            <a:srgbClr val="F26B43"/>
          </p15:clr>
        </p15:guide>
        <p15:guide id="7" pos="2026">
          <p15:clr>
            <a:srgbClr val="F26B43"/>
          </p15:clr>
        </p15:guide>
        <p15:guide id="8" pos="2706">
          <p15:clr>
            <a:srgbClr val="F26B43"/>
          </p15:clr>
        </p15:guide>
        <p15:guide id="9" pos="2116">
          <p15:clr>
            <a:srgbClr val="F26B43"/>
          </p15:clr>
        </p15:guide>
        <p15:guide id="10" pos="2615">
          <p15:clr>
            <a:srgbClr val="F26B43"/>
          </p15:clr>
        </p15:guide>
        <p15:guide id="11" pos="3205">
          <p15:clr>
            <a:srgbClr val="F26B43"/>
          </p15:clr>
        </p15:guide>
        <p15:guide id="12" pos="1436">
          <p15:clr>
            <a:srgbClr val="F26B43"/>
          </p15:clr>
        </p15:guide>
        <p15:guide id="13" pos="1527">
          <p15:clr>
            <a:srgbClr val="F26B43"/>
          </p15:clr>
        </p15:guide>
        <p15:guide id="14" pos="937">
          <p15:clr>
            <a:srgbClr val="F26B43"/>
          </p15:clr>
        </p15:guide>
        <p15:guide id="15" pos="3885">
          <p15:clr>
            <a:srgbClr val="F26B43"/>
          </p15:clr>
        </p15:guide>
        <p15:guide id="16" pos="4384">
          <p15:clr>
            <a:srgbClr val="F26B43"/>
          </p15:clr>
        </p15:guide>
        <p15:guide id="17" pos="4475">
          <p15:clr>
            <a:srgbClr val="F26B43"/>
          </p15:clr>
        </p15:guide>
        <p15:guide id="18" pos="4974">
          <p15:clr>
            <a:srgbClr val="F26B43"/>
          </p15:clr>
        </p15:guide>
        <p15:guide id="19" pos="5065">
          <p15:clr>
            <a:srgbClr val="F26B43"/>
          </p15:clr>
        </p15:guide>
        <p15:guide id="20" pos="5564">
          <p15:clr>
            <a:srgbClr val="F26B43"/>
          </p15:clr>
        </p15:guide>
        <p15:guide id="21" pos="5654">
          <p15:clr>
            <a:srgbClr val="F26B43"/>
          </p15:clr>
        </p15:guide>
        <p15:guide id="22" pos="6153">
          <p15:clr>
            <a:srgbClr val="F26B43"/>
          </p15:clr>
        </p15:guide>
        <p15:guide id="23" pos="6244">
          <p15:clr>
            <a:srgbClr val="F26B43"/>
          </p15:clr>
        </p15:guide>
        <p15:guide id="24" pos="6743">
          <p15:clr>
            <a:srgbClr val="F26B43"/>
          </p15:clr>
        </p15:guide>
        <p15:guide id="25" pos="6834">
          <p15:clr>
            <a:srgbClr val="F26B43"/>
          </p15:clr>
        </p15:guide>
        <p15:guide id="26" pos="7333">
          <p15:clr>
            <a:srgbClr val="F26B43"/>
          </p15:clr>
        </p15:guide>
        <p15:guide id="27" orient="horz" pos="572">
          <p15:clr>
            <a:srgbClr val="F26B43"/>
          </p15:clr>
        </p15:guide>
        <p15:guide id="28" orient="horz" pos="39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9.xml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3" Type="http://schemas.openxmlformats.org/officeDocument/2006/relationships/image" Target="../media/image31.png"/><Relationship Id="rId7" Type="http://schemas.openxmlformats.org/officeDocument/2006/relationships/image" Target="../media/image9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97.jpeg"/><Relationship Id="rId5" Type="http://schemas.openxmlformats.org/officeDocument/2006/relationships/image" Target="../media/image96.jpeg"/><Relationship Id="rId10" Type="http://schemas.openxmlformats.org/officeDocument/2006/relationships/image" Target="../media/image101.png"/><Relationship Id="rId4" Type="http://schemas.openxmlformats.org/officeDocument/2006/relationships/image" Target="../media/image95.jpeg"/><Relationship Id="rId9" Type="http://schemas.openxmlformats.org/officeDocument/2006/relationships/image" Target="../media/image100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97.jpeg"/><Relationship Id="rId5" Type="http://schemas.openxmlformats.org/officeDocument/2006/relationships/image" Target="../media/image103.jpg"/><Relationship Id="rId4" Type="http://schemas.openxmlformats.org/officeDocument/2006/relationships/image" Target="../media/image102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95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06.jpeg"/><Relationship Id="rId5" Type="http://schemas.openxmlformats.org/officeDocument/2006/relationships/image" Target="../media/image105.jpeg"/><Relationship Id="rId4" Type="http://schemas.openxmlformats.org/officeDocument/2006/relationships/image" Target="../media/image104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7" Type="http://schemas.openxmlformats.org/officeDocument/2006/relationships/image" Target="../media/image107.jpe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jpe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3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png"/><Relationship Id="rId3" Type="http://schemas.openxmlformats.org/officeDocument/2006/relationships/slideLayout" Target="../slideLayouts/slideLayout37.xml"/><Relationship Id="rId7" Type="http://schemas.openxmlformats.org/officeDocument/2006/relationships/image" Target="../media/image110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3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png"/><Relationship Id="rId3" Type="http://schemas.openxmlformats.org/officeDocument/2006/relationships/slideLayout" Target="../slideLayouts/slideLayout37.xml"/><Relationship Id="rId7" Type="http://schemas.openxmlformats.org/officeDocument/2006/relationships/image" Target="../media/image115.png"/><Relationship Id="rId12" Type="http://schemas.openxmlformats.org/officeDocument/2006/relationships/image" Target="../media/image120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14.png"/><Relationship Id="rId11" Type="http://schemas.openxmlformats.org/officeDocument/2006/relationships/image" Target="../media/image119.png"/><Relationship Id="rId5" Type="http://schemas.openxmlformats.org/officeDocument/2006/relationships/image" Target="../media/image1.emf"/><Relationship Id="rId10" Type="http://schemas.openxmlformats.org/officeDocument/2006/relationships/image" Target="../media/image118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1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tiff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cnews.ru/redirect.php?90799560dda33e45906" TargetMode="External"/><Relationship Id="rId3" Type="http://schemas.openxmlformats.org/officeDocument/2006/relationships/image" Target="../media/image39.png"/><Relationship Id="rId7" Type="http://schemas.openxmlformats.org/officeDocument/2006/relationships/hyperlink" Target="https://www.cnews.ru/redirect.php?11602060dda32838f6f" TargetMode="External"/><Relationship Id="rId12" Type="http://schemas.openxmlformats.org/officeDocument/2006/relationships/image" Target="../media/image4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hyperlink" Target="https://www.cnews.ru/redirect.php?78161460dda316efa85" TargetMode="External"/><Relationship Id="rId11" Type="http://schemas.openxmlformats.org/officeDocument/2006/relationships/image" Target="../media/image42.png"/><Relationship Id="rId5" Type="http://schemas.openxmlformats.org/officeDocument/2006/relationships/hyperlink" Target="https://www.cnews.ru/redirect.php?15119260dda308bec30" TargetMode="External"/><Relationship Id="rId10" Type="http://schemas.openxmlformats.org/officeDocument/2006/relationships/image" Target="../media/image41.png"/><Relationship Id="rId4" Type="http://schemas.microsoft.com/office/2007/relationships/hdphoto" Target="../media/hdphoto1.wdp"/><Relationship Id="rId9" Type="http://schemas.openxmlformats.org/officeDocument/2006/relationships/image" Target="../media/image4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122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4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0.png"/></Relationships>
</file>

<file path=ppt/slides/_rels/slide2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126.png"/><Relationship Id="rId4" Type="http://schemas.openxmlformats.org/officeDocument/2006/relationships/image" Target="../media/image125.png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126.png"/><Relationship Id="rId4" Type="http://schemas.openxmlformats.org/officeDocument/2006/relationships/image" Target="../media/image127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12" Type="http://schemas.openxmlformats.org/officeDocument/2006/relationships/image" Target="../media/image38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37.png"/><Relationship Id="rId5" Type="http://schemas.openxmlformats.org/officeDocument/2006/relationships/notesSlide" Target="../notesSlides/notesSlide17.xml"/><Relationship Id="rId10" Type="http://schemas.openxmlformats.org/officeDocument/2006/relationships/image" Target="../media/image36.pn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35.tif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jpe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8.jpeg"/><Relationship Id="rId11" Type="http://schemas.openxmlformats.org/officeDocument/2006/relationships/image" Target="../media/image31.png"/><Relationship Id="rId5" Type="http://schemas.openxmlformats.org/officeDocument/2006/relationships/image" Target="../media/image47.jpeg"/><Relationship Id="rId10" Type="http://schemas.openxmlformats.org/officeDocument/2006/relationships/image" Target="../media/image52.jpeg"/><Relationship Id="rId4" Type="http://schemas.openxmlformats.org/officeDocument/2006/relationships/image" Target="../media/image46.jpeg"/><Relationship Id="rId9" Type="http://schemas.openxmlformats.org/officeDocument/2006/relationships/image" Target="../media/image51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13" Type="http://schemas.openxmlformats.org/officeDocument/2006/relationships/image" Target="../media/image58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31.png"/><Relationship Id="rId12" Type="http://schemas.openxmlformats.org/officeDocument/2006/relationships/image" Target="../media/image57.png"/><Relationship Id="rId17" Type="http://schemas.openxmlformats.org/officeDocument/2006/relationships/image" Target="../media/image62.jpeg"/><Relationship Id="rId2" Type="http://schemas.openxmlformats.org/officeDocument/2006/relationships/tags" Target="../tags/tag8.xml"/><Relationship Id="rId16" Type="http://schemas.openxmlformats.org/officeDocument/2006/relationships/image" Target="../media/image61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56.pn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60.jpeg"/><Relationship Id="rId10" Type="http://schemas.openxmlformats.org/officeDocument/2006/relationships/image" Target="../media/image55.jpe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54.png"/><Relationship Id="rId14" Type="http://schemas.openxmlformats.org/officeDocument/2006/relationships/image" Target="../media/image5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13" Type="http://schemas.openxmlformats.org/officeDocument/2006/relationships/image" Target="../media/image72.png"/><Relationship Id="rId18" Type="http://schemas.openxmlformats.org/officeDocument/2006/relationships/image" Target="../media/image77.png"/><Relationship Id="rId3" Type="http://schemas.openxmlformats.org/officeDocument/2006/relationships/image" Target="../media/image31.png"/><Relationship Id="rId21" Type="http://schemas.openxmlformats.org/officeDocument/2006/relationships/image" Target="../media/image80.emf"/><Relationship Id="rId7" Type="http://schemas.openxmlformats.org/officeDocument/2006/relationships/image" Target="../media/image66.png"/><Relationship Id="rId12" Type="http://schemas.openxmlformats.org/officeDocument/2006/relationships/image" Target="../media/image71.png"/><Relationship Id="rId17" Type="http://schemas.openxmlformats.org/officeDocument/2006/relationships/image" Target="../media/image76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75.png"/><Relationship Id="rId20" Type="http://schemas.openxmlformats.org/officeDocument/2006/relationships/image" Target="../media/image79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65.png"/><Relationship Id="rId11" Type="http://schemas.openxmlformats.org/officeDocument/2006/relationships/image" Target="../media/image70.png"/><Relationship Id="rId5" Type="http://schemas.openxmlformats.org/officeDocument/2006/relationships/image" Target="../media/image64.png"/><Relationship Id="rId15" Type="http://schemas.openxmlformats.org/officeDocument/2006/relationships/image" Target="../media/image74.png"/><Relationship Id="rId10" Type="http://schemas.openxmlformats.org/officeDocument/2006/relationships/image" Target="../media/image69.jpeg"/><Relationship Id="rId19" Type="http://schemas.openxmlformats.org/officeDocument/2006/relationships/image" Target="../media/image78.png"/><Relationship Id="rId4" Type="http://schemas.openxmlformats.org/officeDocument/2006/relationships/image" Target="../media/image63.gif"/><Relationship Id="rId9" Type="http://schemas.openxmlformats.org/officeDocument/2006/relationships/image" Target="../media/image68.png"/><Relationship Id="rId14" Type="http://schemas.openxmlformats.org/officeDocument/2006/relationships/image" Target="../media/image7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image" Target="../media/image81.png"/><Relationship Id="rId7" Type="http://schemas.openxmlformats.org/officeDocument/2006/relationships/image" Target="../media/image85.png"/><Relationship Id="rId12" Type="http://schemas.openxmlformats.org/officeDocument/2006/relationships/image" Target="../media/image3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4.png"/><Relationship Id="rId11" Type="http://schemas.openxmlformats.org/officeDocument/2006/relationships/image" Target="../media/image89.png"/><Relationship Id="rId5" Type="http://schemas.openxmlformats.org/officeDocument/2006/relationships/image" Target="../media/image83.jpeg"/><Relationship Id="rId10" Type="http://schemas.openxmlformats.org/officeDocument/2006/relationships/image" Target="../media/image88.png"/><Relationship Id="rId4" Type="http://schemas.openxmlformats.org/officeDocument/2006/relationships/image" Target="../media/image82.jpeg"/><Relationship Id="rId9" Type="http://schemas.openxmlformats.org/officeDocument/2006/relationships/image" Target="../media/image8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91.png"/><Relationship Id="rId4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0DB6E88-AAF9-3A4F-A3D6-8497ADF1D0B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20266" y="-10040"/>
            <a:ext cx="13885070" cy="7562850"/>
          </a:xfrm>
          <a:prstGeom prst="rect">
            <a:avLst/>
          </a:prstGeom>
        </p:spPr>
      </p:pic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362B5FC9-850C-1841-811B-AA5ECD1AE86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32269" y="6409306"/>
            <a:ext cx="2588401" cy="801119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E90E652B-135C-E34A-8D90-8E4DE720E476}"/>
              </a:ext>
            </a:extLst>
          </p:cNvPr>
          <p:cNvSpPr txBox="1">
            <a:spLocks/>
          </p:cNvSpPr>
          <p:nvPr/>
        </p:nvSpPr>
        <p:spPr>
          <a:xfrm>
            <a:off x="563657" y="6448425"/>
            <a:ext cx="9372600" cy="435134"/>
          </a:xfrm>
          <a:prstGeom prst="rect">
            <a:avLst/>
          </a:prstGeom>
          <a:noFill/>
        </p:spPr>
        <p:txBody>
          <a:bodyPr vert="horz" lIns="0" tIns="45720" rIns="91440" bIns="45720" rtlCol="0" anchor="b">
            <a:normAutofit fontScale="97500"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616" b="1" i="0" kern="1200">
                <a:solidFill>
                  <a:schemeClr val="bg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r>
              <a:rPr lang="en-US" sz="1400" b="0" dirty="0" err="1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munigate.ru</a:t>
            </a:r>
            <a:endParaRPr lang="ru-RU" sz="1400" b="0" dirty="0">
              <a:solidFill>
                <a:srgbClr val="FF93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DA59DAA2-27A8-5D46-B46B-9E97A26C866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3088" y="6450586"/>
            <a:ext cx="2765125" cy="607439"/>
          </a:xfrm>
          <a:prstGeom prst="rect">
            <a:avLst/>
          </a:prstGeom>
        </p:spPr>
      </p:pic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032F7787-AD84-004D-AF24-7CEA2780200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22269" y="6372225"/>
            <a:ext cx="3041638" cy="78684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49E6F7E-9EC3-4BB3-B0F3-A6827138B3B7}"/>
              </a:ext>
            </a:extLst>
          </p:cNvPr>
          <p:cNvSpPr txBox="1"/>
          <p:nvPr/>
        </p:nvSpPr>
        <p:spPr>
          <a:xfrm>
            <a:off x="449273" y="2437872"/>
            <a:ext cx="1254599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Комплексное </a:t>
            </a:r>
            <a:r>
              <a:rPr lang="ru-RU" sz="3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ешение </a:t>
            </a:r>
          </a:p>
          <a:p>
            <a:r>
              <a:rPr lang="ru-RU" sz="3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для </a:t>
            </a:r>
            <a:r>
              <a:rPr lang="ru-RU" sz="3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корпоративных коммуникаций </a:t>
            </a:r>
            <a:r>
              <a:rPr lang="ru-RU" sz="36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muniGate</a:t>
            </a:r>
            <a:r>
              <a:rPr lang="ru-RU" sz="3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36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</a:t>
            </a:r>
            <a:endParaRPr lang="en-US" sz="36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0404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A433F3-FA4E-BB44-9FF3-739758C7FF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>
                <a:solidFill>
                  <a:srgbClr val="1E3777"/>
                </a:solidFill>
              </a:rPr>
              <a:t>Функциональность клиентов</a:t>
            </a:r>
            <a:endParaRPr lang="x-none" dirty="0">
              <a:solidFill>
                <a:srgbClr val="1E3777"/>
              </a:solidFill>
            </a:endParaRP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C7D08D20-62EB-48D8-8F67-9F40A87694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1518282"/>
              </p:ext>
            </p:extLst>
          </p:nvPr>
        </p:nvGraphicFramePr>
        <p:xfrm>
          <a:off x="6959600" y="1343025"/>
          <a:ext cx="6064047" cy="556583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46960">
                  <a:extLst>
                    <a:ext uri="{9D8B030D-6E8A-4147-A177-3AD203B41FA5}">
                      <a16:colId xmlns:a16="http://schemas.microsoft.com/office/drawing/2014/main" val="3494007502"/>
                    </a:ext>
                  </a:extLst>
                </a:gridCol>
                <a:gridCol w="1225709">
                  <a:extLst>
                    <a:ext uri="{9D8B030D-6E8A-4147-A177-3AD203B41FA5}">
                      <a16:colId xmlns:a16="http://schemas.microsoft.com/office/drawing/2014/main" val="3174052051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2468097237"/>
                    </a:ext>
                  </a:extLst>
                </a:gridCol>
                <a:gridCol w="1195978">
                  <a:extLst>
                    <a:ext uri="{9D8B030D-6E8A-4147-A177-3AD203B41FA5}">
                      <a16:colId xmlns:a16="http://schemas.microsoft.com/office/drawing/2014/main" val="1078782433"/>
                    </a:ext>
                  </a:extLst>
                </a:gridCol>
              </a:tblGrid>
              <a:tr h="74127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оступные сервисы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Desktop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Web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Mobile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64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4167792"/>
                  </a:ext>
                </a:extLst>
              </a:tr>
              <a:tr h="23520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очта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✔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✔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4кв 2022 г.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64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9694358"/>
                  </a:ext>
                </a:extLst>
              </a:tr>
              <a:tr h="23520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Мессенджер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✔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✔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✔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64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2812896"/>
                  </a:ext>
                </a:extLst>
              </a:tr>
              <a:tr h="27845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Телефония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✔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✔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✔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64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6329677"/>
                  </a:ext>
                </a:extLst>
              </a:tr>
              <a:tr h="27222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Календари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✔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✔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 smtClean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1</a:t>
                      </a:r>
                      <a:r>
                        <a:rPr lang="ru-RU" sz="1400" b="0" kern="1200" baseline="0" dirty="0" smtClean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 </a:t>
                      </a:r>
                      <a:r>
                        <a:rPr lang="ru-RU" sz="1400" b="0" kern="1200" dirty="0" err="1" smtClean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кв</a:t>
                      </a:r>
                      <a:r>
                        <a:rPr lang="ru-RU" sz="1400" b="0" kern="1200" dirty="0" smtClean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 </a:t>
                      </a: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02</a:t>
                      </a:r>
                      <a:r>
                        <a:rPr lang="en-US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3</a:t>
                      </a: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 г.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64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4082845"/>
                  </a:ext>
                </a:extLst>
              </a:tr>
              <a:tr h="23520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1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Контакты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✔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✔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✔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64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6325493"/>
                  </a:ext>
                </a:extLst>
              </a:tr>
              <a:tr h="23520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Корпоративное облако файлов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✔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✔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✔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64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5739143"/>
                  </a:ext>
                </a:extLst>
              </a:tr>
              <a:tr h="54372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Офлайн-доступ к ранее загруженным данным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✔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✔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✔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64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0844339"/>
                  </a:ext>
                </a:extLst>
              </a:tr>
              <a:tr h="11760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Заметки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-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✔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-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64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621779"/>
                  </a:ext>
                </a:extLst>
              </a:tr>
              <a:tr h="11760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Задачи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023г.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✔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023г.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64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400805"/>
                  </a:ext>
                </a:extLst>
              </a:tr>
              <a:tr h="11760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1" kern="1200" dirty="0" err="1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Видеовызовы</a:t>
                      </a:r>
                      <a:endParaRPr lang="ru-RU" sz="1400" b="1" kern="1200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✔</a:t>
                      </a:r>
                      <a:endParaRPr lang="ru-RU" sz="1400" b="0" kern="1200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✔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4кв 2022 г.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64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680611"/>
                  </a:ext>
                </a:extLst>
              </a:tr>
              <a:tr h="11760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ru-RU" sz="1400" b="1" kern="1200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b="0" kern="1200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b="0" kern="1200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b="0" kern="1200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64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5240088"/>
                  </a:ext>
                </a:extLst>
              </a:tr>
              <a:tr h="94083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нтеграция с офисными пакетами российского производства, системами ВКС, CRM, ECM, ERP и др.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023</a:t>
                      </a: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г.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✔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-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64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079362"/>
                  </a:ext>
                </a:extLst>
              </a:tr>
              <a:tr h="11760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Геопозиция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-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-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✔</a:t>
                      </a:r>
                    </a:p>
                  </a:txBody>
                  <a:tcPr marL="44101" marR="4410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64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5900058"/>
                  </a:ext>
                </a:extLst>
              </a:tr>
            </a:tbl>
          </a:graphicData>
        </a:graphic>
      </p:graphicFrame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E546E65C-236C-46E0-9B87-7D023F09F69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1350" y="657225"/>
            <a:ext cx="762000" cy="762000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CF186A8A-F8C3-4500-8FD7-59193CF7949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8469" y="487960"/>
            <a:ext cx="1228327" cy="1228327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D581F1C-B18C-48E5-AEA9-13A7D15DD03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35018" y="657225"/>
            <a:ext cx="430851" cy="825797"/>
          </a:xfrm>
          <a:prstGeom prst="rect">
            <a:avLst/>
          </a:prstGeom>
        </p:spPr>
      </p:pic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A8C7DD9-B82F-4D93-B790-2F3AE266126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9112" y="2223842"/>
            <a:ext cx="5953572" cy="4986945"/>
          </a:xfrm>
        </p:spPr>
        <p:txBody>
          <a:bodyPr/>
          <a:lstStyle/>
          <a:p>
            <a:pPr fontAlgn="base"/>
            <a:r>
              <a:rPr lang="ru-RU" sz="1900" b="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Функциональность </a:t>
            </a:r>
            <a:r>
              <a:rPr lang="en-US" sz="1900" b="0" dirty="0" err="1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amoware</a:t>
            </a:r>
            <a:r>
              <a:rPr lang="en-US" sz="1900" b="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900" b="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висит от типа клиента</a:t>
            </a:r>
            <a:r>
              <a:rPr lang="en-US" sz="1900" b="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900" b="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 постоянно дополняется</a:t>
            </a:r>
          </a:p>
          <a:p>
            <a:pPr fontAlgn="base"/>
            <a:endParaRPr lang="ru-RU" sz="1900" b="0" dirty="0">
              <a:solidFill>
                <a:srgbClr val="02050A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fontAlgn="base"/>
            <a:r>
              <a:rPr lang="ru-RU" sz="1900" b="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 ближайшее время в мобильных клиентах будут доступны сервисы почты и календарей</a:t>
            </a:r>
          </a:p>
          <a:p>
            <a:pPr marL="1985" lvl="2" indent="0">
              <a:spcAft>
                <a:spcPts val="600"/>
              </a:spcAft>
              <a:buClr>
                <a:srgbClr val="1E3777"/>
              </a:buClr>
              <a:buNone/>
            </a:pPr>
            <a:endParaRPr lang="en-US" sz="1900" dirty="0">
              <a:solidFill>
                <a:srgbClr val="02050A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985" lvl="2" indent="0">
              <a:spcAft>
                <a:spcPts val="600"/>
              </a:spcAft>
              <a:buClr>
                <a:srgbClr val="1E3777"/>
              </a:buClr>
              <a:buNone/>
            </a:pPr>
            <a:endParaRPr lang="en-US" sz="1900" dirty="0">
              <a:solidFill>
                <a:srgbClr val="02050A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Aft>
                <a:spcPts val="600"/>
              </a:spcAft>
            </a:pPr>
            <a:endParaRPr lang="x-none" sz="1900" dirty="0">
              <a:solidFill>
                <a:srgbClr val="02050A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87162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15">
            <a:extLst>
              <a:ext uri="{FF2B5EF4-FFF2-40B4-BE49-F238E27FC236}">
                <a16:creationId xmlns:a16="http://schemas.microsoft.com/office/drawing/2014/main" id="{07B23B32-6D4C-7E49-A39C-4182A8394A36}"/>
              </a:ext>
            </a:extLst>
          </p:cNvPr>
          <p:cNvSpPr txBox="1">
            <a:spLocks/>
          </p:cNvSpPr>
          <p:nvPr/>
        </p:nvSpPr>
        <p:spPr>
          <a:xfrm>
            <a:off x="567532" y="1972176"/>
            <a:ext cx="6019006" cy="1585049"/>
          </a:xfrm>
          <a:prstGeom prst="rect">
            <a:avLst/>
          </a:prstGeom>
        </p:spPr>
        <p:txBody>
          <a:bodyPr vert="horz" wrap="square" lIns="0" tIns="15240" rIns="0" bIns="0" numCol="1" spcCol="54000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pPr>
              <a:spcAft>
                <a:spcPts val="1200"/>
              </a:spcAft>
            </a:pPr>
            <a:endParaRPr lang="ru-RU" altLang="ru-RU" sz="1800" b="1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Aft>
                <a:spcPts val="1200"/>
              </a:spcAft>
            </a:pPr>
            <a:endParaRPr lang="ru-RU" altLang="ru-RU" sz="1800" b="1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Aft>
                <a:spcPts val="1200"/>
              </a:spcAft>
            </a:pPr>
            <a:endParaRPr lang="ru-RU" sz="1800" b="1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Aft>
                <a:spcPts val="1200"/>
              </a:spcAft>
            </a:pPr>
            <a:endParaRPr lang="ru-RU" altLang="en-US" sz="18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6D23948-C5E1-B64A-9D82-20C96EE12BD6}"/>
              </a:ext>
            </a:extLst>
          </p:cNvPr>
          <p:cNvSpPr/>
          <p:nvPr/>
        </p:nvSpPr>
        <p:spPr>
          <a:xfrm>
            <a:off x="181102" y="733528"/>
            <a:ext cx="140367" cy="1403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BFE078A2-9962-3F46-9FD3-12AE3CAA678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2000" y="265886"/>
            <a:ext cx="2286000" cy="591365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82662FDF-266A-404A-A328-30BC9A585674}"/>
              </a:ext>
            </a:extLst>
          </p:cNvPr>
          <p:cNvSpPr txBox="1">
            <a:spLocks/>
          </p:cNvSpPr>
          <p:nvPr/>
        </p:nvSpPr>
        <p:spPr>
          <a:xfrm>
            <a:off x="2455069" y="422712"/>
            <a:ext cx="10439400" cy="761997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r">
              <a:tabLst>
                <a:tab pos="82550" algn="l"/>
              </a:tabLst>
            </a:pPr>
            <a:r>
              <a:rPr lang="ru-RU" sz="240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нтеграция с различными системами и </a:t>
            </a:r>
          </a:p>
          <a:p>
            <a:pPr algn="r">
              <a:tabLst>
                <a:tab pos="82550" algn="l"/>
              </a:tabLst>
            </a:pPr>
            <a:r>
              <a:rPr lang="ru-RU" sz="240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фисными пакетами</a:t>
            </a:r>
          </a:p>
          <a:p>
            <a:pPr>
              <a:tabLst>
                <a:tab pos="82550" algn="l"/>
              </a:tabLst>
            </a:pPr>
            <a:endParaRPr lang="ru-RU" sz="2400" dirty="0">
              <a:solidFill>
                <a:srgbClr val="FF93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tabLst>
                <a:tab pos="82550" algn="l"/>
              </a:tabLst>
            </a:pPr>
            <a:endParaRPr lang="ru-RU" sz="240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D443062-766B-406C-85FB-93A26D7530CE}"/>
              </a:ext>
            </a:extLst>
          </p:cNvPr>
          <p:cNvSpPr txBox="1"/>
          <p:nvPr/>
        </p:nvSpPr>
        <p:spPr>
          <a:xfrm>
            <a:off x="4252882" y="4775162"/>
            <a:ext cx="213520" cy="12145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baseline="-25000" dirty="0"/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ACBAE642-491F-402E-B775-3EE0DAB7D998}"/>
              </a:ext>
            </a:extLst>
          </p:cNvPr>
          <p:cNvSpPr/>
          <p:nvPr/>
        </p:nvSpPr>
        <p:spPr>
          <a:xfrm>
            <a:off x="7510405" y="2317603"/>
            <a:ext cx="1415256" cy="11766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Picture 4" descr="Торговая марка №707640 – Р7-ОФИС: владелец торгового знака и другие данные  | РБК Компании">
            <a:extLst>
              <a:ext uri="{FF2B5EF4-FFF2-40B4-BE49-F238E27FC236}">
                <a16:creationId xmlns:a16="http://schemas.microsoft.com/office/drawing/2014/main" id="{E3A3018C-00EC-40E3-9F81-41650E8470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0405" y="1824980"/>
            <a:ext cx="1968023" cy="6371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http://prime-1c.ru/upload/000/000/005/137.jpg">
            <a:extLst>
              <a:ext uri="{FF2B5EF4-FFF2-40B4-BE49-F238E27FC236}">
                <a16:creationId xmlns:a16="http://schemas.microsoft.com/office/drawing/2014/main" id="{B5E8BD56-1958-48B5-B591-6B55BB1CDA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17035" y="1824980"/>
            <a:ext cx="2196434" cy="775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2" descr="Vinteo – Премия «CIPR DIGITAL»">
            <a:extLst>
              <a:ext uri="{FF2B5EF4-FFF2-40B4-BE49-F238E27FC236}">
                <a16:creationId xmlns:a16="http://schemas.microsoft.com/office/drawing/2014/main" id="{4B477A35-495C-4F44-91EE-4FB3D1C71F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666" b="34658"/>
          <a:stretch/>
        </p:blipFill>
        <p:spPr bwMode="auto">
          <a:xfrm>
            <a:off x="7300250" y="3349731"/>
            <a:ext cx="2221794" cy="6371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0642" name="Picture 2" descr="https://mpt.acvl.ru/img/24486349.png">
            <a:extLst>
              <a:ext uri="{FF2B5EF4-FFF2-40B4-BE49-F238E27FC236}">
                <a16:creationId xmlns:a16="http://schemas.microsoft.com/office/drawing/2014/main" id="{F776A158-2054-4207-ABF1-A1BDB95C84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7878" y="2954709"/>
            <a:ext cx="2653252" cy="1329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0646" name="Picture 6" descr="https://chk-company.ru/templates/g5_helium/custom/images/b24_ru-2.png">
            <a:extLst>
              <a:ext uri="{FF2B5EF4-FFF2-40B4-BE49-F238E27FC236}">
                <a16:creationId xmlns:a16="http://schemas.microsoft.com/office/drawing/2014/main" id="{03C78D49-DE3F-4083-987E-A32568B4C8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3496" y="3811107"/>
            <a:ext cx="2606069" cy="2579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27FC174-BC22-46B6-9C0F-CDC6F53C10D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292903" y="4092009"/>
            <a:ext cx="2057401" cy="1366305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FC9AF99F-CAFE-4F8E-8FA5-92899D0C9374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1034" r="11459" b="5666"/>
          <a:stretch/>
        </p:blipFill>
        <p:spPr>
          <a:xfrm>
            <a:off x="272615" y="1523046"/>
            <a:ext cx="6684169" cy="457612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9329710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A56E538-9FE4-49DF-AA9F-3A929FEE8F31}"/>
              </a:ext>
            </a:extLst>
          </p:cNvPr>
          <p:cNvSpPr/>
          <p:nvPr/>
        </p:nvSpPr>
        <p:spPr>
          <a:xfrm>
            <a:off x="550863" y="1804997"/>
            <a:ext cx="4681537" cy="5434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0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Calibri Light"/>
              </a:rPr>
              <a:t>Использование единого интерфейса пользователя для создания и проведения мультипользовательских видеоконференций</a:t>
            </a: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sz="20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Calibri Light"/>
              </a:rPr>
              <a:t>Создание видеоконференции в один клик на основании группы контактов </a:t>
            </a:r>
            <a:r>
              <a:rPr lang="en-US" sz="20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Calibri Light"/>
              </a:rPr>
              <a:t>CGP</a:t>
            </a: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Clr>
                <a:srgbClr val="FF9300"/>
              </a:buClr>
              <a:buFont typeface="Arial" panose="020B0604020202020204" pitchFamily="34" charset="0"/>
              <a:buChar char="•"/>
            </a:pPr>
            <a:endParaRPr lang="ru-RU" sz="20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Calibri Light"/>
            </a:endParaRP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sz="20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Calibri Light"/>
              </a:rPr>
              <a:t>Создание видеоконференции в один клик на основе </a:t>
            </a:r>
            <a:r>
              <a:rPr lang="ru-RU" sz="2000" kern="0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Calibri Light"/>
              </a:rPr>
              <a:t>мультичата</a:t>
            </a:r>
            <a:r>
              <a:rPr lang="ru-RU" sz="20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Calibri Light"/>
              </a:rPr>
              <a:t> </a:t>
            </a:r>
            <a:r>
              <a:rPr lang="en-US" sz="20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Calibri Light"/>
              </a:rPr>
              <a:t>CGP</a:t>
            </a: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Clr>
                <a:srgbClr val="FF9300"/>
              </a:buClr>
              <a:buFont typeface="Arial" panose="020B0604020202020204" pitchFamily="34" charset="0"/>
              <a:buChar char="•"/>
            </a:pPr>
            <a:endParaRPr lang="ru-RU" sz="20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Calibri Light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sz="20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Calibri Light"/>
              </a:rPr>
              <a:t>Создание видеоконференции на основе календарного события </a:t>
            </a:r>
            <a:r>
              <a:rPr lang="en-US" sz="20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Calibri Light"/>
              </a:rPr>
              <a:t>CGP</a:t>
            </a:r>
            <a:endParaRPr lang="ru-RU" sz="20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Calibri Light"/>
            </a:endParaRPr>
          </a:p>
        </p:txBody>
      </p:sp>
      <p:pic>
        <p:nvPicPr>
          <p:cNvPr id="3" name="Picture 31">
            <a:extLst>
              <a:ext uri="{FF2B5EF4-FFF2-40B4-BE49-F238E27FC236}">
                <a16:creationId xmlns:a16="http://schemas.microsoft.com/office/drawing/2014/main" id="{7AADAECC-0B11-40A8-964B-FA4EEC88C06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5806" y="395908"/>
            <a:ext cx="2691018" cy="696139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40A13D20-A369-47E5-9771-5D9F3698F0B0}"/>
              </a:ext>
            </a:extLst>
          </p:cNvPr>
          <p:cNvSpPr txBox="1">
            <a:spLocks/>
          </p:cNvSpPr>
          <p:nvPr/>
        </p:nvSpPr>
        <p:spPr>
          <a:xfrm>
            <a:off x="4049457" y="352529"/>
            <a:ext cx="9179848" cy="761997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r">
              <a:tabLst>
                <a:tab pos="82550" algn="l"/>
              </a:tabLst>
            </a:pPr>
            <a:r>
              <a:rPr lang="ru-RU" sz="240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нтеграция с ВКС</a:t>
            </a:r>
          </a:p>
          <a:p>
            <a:pPr>
              <a:tabLst>
                <a:tab pos="82550" algn="l"/>
              </a:tabLst>
            </a:pPr>
            <a:endParaRPr lang="ru-RU" sz="2400" dirty="0">
              <a:solidFill>
                <a:srgbClr val="FF93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tabLst>
                <a:tab pos="82550" algn="l"/>
              </a:tabLst>
            </a:pPr>
            <a:endParaRPr lang="ru-RU" sz="240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0C650F02-6D9A-463D-8FC2-5178ADC8F5B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2400" y="1266825"/>
            <a:ext cx="8212138" cy="4547276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D0601B58-463B-4240-93A5-C682D21241A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1869" y="4314825"/>
            <a:ext cx="5627897" cy="3123898"/>
          </a:xfrm>
          <a:prstGeom prst="rect">
            <a:avLst/>
          </a:prstGeom>
        </p:spPr>
      </p:pic>
      <p:pic>
        <p:nvPicPr>
          <p:cNvPr id="7" name="Picture 12" descr="Vinteo – Премия «CIPR DIGITAL»">
            <a:extLst>
              <a:ext uri="{FF2B5EF4-FFF2-40B4-BE49-F238E27FC236}">
                <a16:creationId xmlns:a16="http://schemas.microsoft.com/office/drawing/2014/main" id="{4B477A35-495C-4F44-91EE-4FB3D1C71F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666" b="34658"/>
          <a:stretch/>
        </p:blipFill>
        <p:spPr bwMode="auto">
          <a:xfrm>
            <a:off x="3010606" y="414974"/>
            <a:ext cx="2221794" cy="6371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0472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15">
            <a:extLst>
              <a:ext uri="{FF2B5EF4-FFF2-40B4-BE49-F238E27FC236}">
                <a16:creationId xmlns:a16="http://schemas.microsoft.com/office/drawing/2014/main" id="{07B23B32-6D4C-7E49-A39C-4182A8394A36}"/>
              </a:ext>
            </a:extLst>
          </p:cNvPr>
          <p:cNvSpPr txBox="1">
            <a:spLocks/>
          </p:cNvSpPr>
          <p:nvPr/>
        </p:nvSpPr>
        <p:spPr>
          <a:xfrm>
            <a:off x="550863" y="2704951"/>
            <a:ext cx="3428205" cy="3062377"/>
          </a:xfrm>
          <a:prstGeom prst="rect">
            <a:avLst/>
          </a:prstGeom>
        </p:spPr>
        <p:txBody>
          <a:bodyPr vert="horz" wrap="square" lIns="0" tIns="15240" rIns="0" bIns="0" numCol="1" spcCol="54000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r>
              <a:rPr lang="ru-RU" altLang="en-US" sz="18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бота с загруженными документами непосредственно </a:t>
            </a:r>
            <a:br>
              <a:rPr lang="ru-RU" altLang="en-US" sz="18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altLang="en-US" sz="18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интерфейсе с помощью </a:t>
            </a:r>
            <a:r>
              <a:rPr lang="ru-RU" altLang="en-US" sz="1800" kern="0" dirty="0" smtClean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акета:</a:t>
            </a:r>
            <a:endParaRPr lang="ru-RU" altLang="en-US" sz="18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ru-RU" altLang="en-US" sz="18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altLang="en-US" sz="18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оздание</a:t>
            </a:r>
          </a:p>
          <a:p>
            <a:pPr marL="285750" indent="-285750">
              <a:buClr>
                <a:srgbClr val="FF9300"/>
              </a:buClr>
              <a:buFont typeface="Arial" panose="020B0604020202020204" pitchFamily="34" charset="0"/>
              <a:buChar char="•"/>
            </a:pPr>
            <a:endParaRPr lang="ru-RU" altLang="en-US" sz="18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altLang="en-US" sz="18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едактирование</a:t>
            </a:r>
          </a:p>
          <a:p>
            <a:pPr marL="285750" indent="-285750">
              <a:buClr>
                <a:srgbClr val="FF9300"/>
              </a:buClr>
              <a:buFont typeface="Arial" panose="020B0604020202020204" pitchFamily="34" charset="0"/>
              <a:buChar char="•"/>
            </a:pPr>
            <a:endParaRPr lang="ru-RU" altLang="en-US" sz="18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altLang="en-US" sz="18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овместная работа</a:t>
            </a:r>
            <a:endParaRPr lang="en-US" altLang="en-US" sz="18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6D23948-C5E1-B64A-9D82-20C96EE12BD6}"/>
              </a:ext>
            </a:extLst>
          </p:cNvPr>
          <p:cNvSpPr/>
          <p:nvPr/>
        </p:nvSpPr>
        <p:spPr>
          <a:xfrm>
            <a:off x="181102" y="733528"/>
            <a:ext cx="140367" cy="1403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BFE078A2-9962-3F46-9FD3-12AE3CAA678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102" y="276225"/>
            <a:ext cx="2945601" cy="761997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0AEF2384-67DD-4E7C-A95A-4F16EE3498CC}"/>
              </a:ext>
            </a:extLst>
          </p:cNvPr>
          <p:cNvSpPr txBox="1">
            <a:spLocks/>
          </p:cNvSpPr>
          <p:nvPr/>
        </p:nvSpPr>
        <p:spPr>
          <a:xfrm>
            <a:off x="5262435" y="361482"/>
            <a:ext cx="7860634" cy="761997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r">
              <a:tabLst>
                <a:tab pos="82550" algn="l"/>
              </a:tabLst>
            </a:pPr>
            <a:r>
              <a:rPr lang="ru-RU" sz="240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нтеграция с офисными пакетами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2EBF81B9-04F0-4CF2-92BD-0ACE62E6343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8866" y="1375531"/>
            <a:ext cx="6874669" cy="3560800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E08B5A33-D9A3-4E58-9F2D-08F181C3147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2069" y="3215534"/>
            <a:ext cx="6874669" cy="3600675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A2C9EF4D-91E1-4F1A-B08A-85BAB8EF8D5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1454" y="4092495"/>
            <a:ext cx="6874669" cy="3567550"/>
          </a:xfrm>
          <a:prstGeom prst="rect">
            <a:avLst/>
          </a:prstGeom>
        </p:spPr>
      </p:pic>
      <p:cxnSp>
        <p:nvCxnSpPr>
          <p:cNvPr id="20" name="Straight Connector 26">
            <a:extLst>
              <a:ext uri="{FF2B5EF4-FFF2-40B4-BE49-F238E27FC236}">
                <a16:creationId xmlns:a16="http://schemas.microsoft.com/office/drawing/2014/main" id="{28182A6F-734C-48D6-B787-9492F6526127}"/>
              </a:ext>
            </a:extLst>
          </p:cNvPr>
          <p:cNvCxnSpPr>
            <a:cxnSpLocks/>
          </p:cNvCxnSpPr>
          <p:nvPr/>
        </p:nvCxnSpPr>
        <p:spPr>
          <a:xfrm>
            <a:off x="982688" y="4238625"/>
            <a:ext cx="792129" cy="0"/>
          </a:xfrm>
          <a:prstGeom prst="line">
            <a:avLst/>
          </a:prstGeom>
          <a:ln w="38100">
            <a:solidFill>
              <a:srgbClr val="FF9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6">
            <a:extLst>
              <a:ext uri="{FF2B5EF4-FFF2-40B4-BE49-F238E27FC236}">
                <a16:creationId xmlns:a16="http://schemas.microsoft.com/office/drawing/2014/main" id="{90B1F98B-06AF-4D4C-B569-C7D02DF55E3F}"/>
              </a:ext>
            </a:extLst>
          </p:cNvPr>
          <p:cNvCxnSpPr>
            <a:cxnSpLocks/>
          </p:cNvCxnSpPr>
          <p:nvPr/>
        </p:nvCxnSpPr>
        <p:spPr>
          <a:xfrm>
            <a:off x="982688" y="4818728"/>
            <a:ext cx="792129" cy="0"/>
          </a:xfrm>
          <a:prstGeom prst="line">
            <a:avLst/>
          </a:prstGeom>
          <a:ln w="38100">
            <a:solidFill>
              <a:srgbClr val="FF9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6">
            <a:extLst>
              <a:ext uri="{FF2B5EF4-FFF2-40B4-BE49-F238E27FC236}">
                <a16:creationId xmlns:a16="http://schemas.microsoft.com/office/drawing/2014/main" id="{4ED0A2CF-B90E-4244-BFB6-922B6B9AD5EA}"/>
              </a:ext>
            </a:extLst>
          </p:cNvPr>
          <p:cNvCxnSpPr>
            <a:cxnSpLocks/>
          </p:cNvCxnSpPr>
          <p:nvPr/>
        </p:nvCxnSpPr>
        <p:spPr>
          <a:xfrm>
            <a:off x="982688" y="5349670"/>
            <a:ext cx="792129" cy="0"/>
          </a:xfrm>
          <a:prstGeom prst="line">
            <a:avLst/>
          </a:prstGeom>
          <a:ln w="38100">
            <a:solidFill>
              <a:srgbClr val="FF9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4" descr="Торговая марка №707640 – Р7-ОФИС: владелец торгового знака и другие данные  | РБК Компании">
            <a:extLst>
              <a:ext uri="{FF2B5EF4-FFF2-40B4-BE49-F238E27FC236}">
                <a16:creationId xmlns:a16="http://schemas.microsoft.com/office/drawing/2014/main" id="{E3A3018C-00EC-40E3-9F81-41650E8470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4269" y="338670"/>
            <a:ext cx="1968023" cy="6371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32692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92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9">
            <a:extLst>
              <a:ext uri="{FF2B5EF4-FFF2-40B4-BE49-F238E27FC236}">
                <a16:creationId xmlns:a16="http://schemas.microsoft.com/office/drawing/2014/main" id="{46125A44-A924-6E48-85FD-55A3813F97F9}"/>
              </a:ext>
            </a:extLst>
          </p:cNvPr>
          <p:cNvSpPr/>
          <p:nvPr/>
        </p:nvSpPr>
        <p:spPr>
          <a:xfrm>
            <a:off x="590097" y="4621411"/>
            <a:ext cx="5172188" cy="30315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FF9300"/>
              </a:buClr>
            </a:pPr>
            <a:r>
              <a:rPr lang="ru-RU" sz="1900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ЖД</a:t>
            </a:r>
          </a:p>
          <a:p>
            <a:pPr>
              <a:spcAft>
                <a:spcPts val="600"/>
              </a:spcAft>
              <a:buClr>
                <a:srgbClr val="FF9300"/>
              </a:buClr>
            </a:pPr>
            <a:r>
              <a:rPr lang="ru-RU" sz="1900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50 000+ пользователей </a:t>
            </a:r>
            <a:r>
              <a:rPr lang="ru-RU" sz="19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 2015 г.</a:t>
            </a:r>
          </a:p>
          <a:p>
            <a:pPr>
              <a:spcAft>
                <a:spcPts val="600"/>
              </a:spcAft>
              <a:buClr>
                <a:srgbClr val="FF9300"/>
              </a:buClr>
            </a:pPr>
            <a:r>
              <a:rPr lang="ru-RU" altLang="en-US" sz="19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7 вычислительных центров </a:t>
            </a:r>
            <a:r>
              <a:rPr lang="en-US" altLang="en-US" sz="19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en-US" altLang="en-US" sz="19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altLang="en-US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 100+ региональных крупных площадок</a:t>
            </a:r>
            <a:endParaRPr lang="ru-RU" sz="190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Aft>
                <a:spcPts val="600"/>
              </a:spcAft>
              <a:buClr>
                <a:srgbClr val="FF9300"/>
              </a:buClr>
            </a:pPr>
            <a:r>
              <a:rPr lang="ru-RU" sz="19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ерриториально распределенная</a:t>
            </a:r>
            <a:br>
              <a:rPr lang="ru-RU" sz="19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9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труктура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en-US" sz="190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en-US" sz="190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Прямоугольник 6">
            <a:extLst>
              <a:ext uri="{FF2B5EF4-FFF2-40B4-BE49-F238E27FC236}">
                <a16:creationId xmlns:a16="http://schemas.microsoft.com/office/drawing/2014/main" id="{3851B3B0-B2AC-004B-A29B-50A26A2A390A}"/>
              </a:ext>
            </a:extLst>
          </p:cNvPr>
          <p:cNvSpPr/>
          <p:nvPr/>
        </p:nvSpPr>
        <p:spPr>
          <a:xfrm>
            <a:off x="6064065" y="2478054"/>
            <a:ext cx="6718103" cy="41227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indent="-342900">
              <a:spcAft>
                <a:spcPts val="1200"/>
              </a:spcAft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kern="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нтеграция со службой </a:t>
            </a:r>
            <a:r>
              <a:rPr lang="en-US" b="1" kern="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tive Directory</a:t>
            </a:r>
            <a:r>
              <a:rPr lang="ru-RU" kern="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в </a:t>
            </a:r>
            <a:r>
              <a:rPr lang="ru-RU" kern="0" dirty="0" err="1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.ч</a:t>
            </a:r>
            <a:r>
              <a:rPr lang="ru-RU" kern="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, по протоколу </a:t>
            </a:r>
            <a:r>
              <a:rPr lang="en-US" b="1" kern="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erberos</a:t>
            </a:r>
            <a:endParaRPr lang="en-US" kern="0" dirty="0">
              <a:solidFill>
                <a:srgbClr val="02050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>
              <a:spcAft>
                <a:spcPts val="1200"/>
              </a:spcAft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kern="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нтеграция с глобальным адресным списком из почтовых клиентских программ</a:t>
            </a:r>
          </a:p>
          <a:p>
            <a:pPr marL="342900" indent="-342900">
              <a:spcAft>
                <a:spcPts val="1200"/>
              </a:spcAft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kern="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зработан коннектор выгрузки атрибутов учетных записей из службы каталогов </a:t>
            </a:r>
            <a:r>
              <a:rPr lang="en-US" b="1" kern="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tive Directory</a:t>
            </a:r>
            <a:r>
              <a:rPr lang="ru-RU" b="1" kern="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b="1" kern="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en-US" b="1" kern="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kern="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службу каталогов </a:t>
            </a:r>
            <a:r>
              <a:rPr lang="en-US" kern="0" dirty="0" err="1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muniGate</a:t>
            </a:r>
            <a:r>
              <a:rPr lang="en-US" kern="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ro</a:t>
            </a:r>
            <a:endParaRPr lang="ru-RU" kern="0" dirty="0">
              <a:solidFill>
                <a:srgbClr val="02050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>
              <a:spcAft>
                <a:spcPts val="1200"/>
              </a:spcAft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kern="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еализован механизм назначения прав в целевой системе по данным о привилегиях пользователя, хранящимся в </a:t>
            </a:r>
            <a:r>
              <a:rPr lang="en-US" b="1" kern="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tive Directory</a:t>
            </a:r>
            <a:endParaRPr lang="ru-RU" kern="0" dirty="0">
              <a:solidFill>
                <a:srgbClr val="02050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>
              <a:spcAft>
                <a:spcPts val="1200"/>
              </a:spcAft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kern="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строена маршрутизация почты через </a:t>
            </a:r>
            <a:r>
              <a:rPr lang="en-US" b="1" kern="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NS</a:t>
            </a:r>
            <a:endParaRPr lang="ru-RU" kern="0" dirty="0">
              <a:solidFill>
                <a:srgbClr val="02050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>
              <a:spcAft>
                <a:spcPts val="1200"/>
              </a:spcAft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kern="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строены механизмы репликации адресно-справочной информации между узлами системы</a:t>
            </a:r>
          </a:p>
        </p:txBody>
      </p:sp>
      <p:pic>
        <p:nvPicPr>
          <p:cNvPr id="15" name="Picture 2" descr="Картинки по запросу РЖД">
            <a:extLst>
              <a:ext uri="{FF2B5EF4-FFF2-40B4-BE49-F238E27FC236}">
                <a16:creationId xmlns:a16="http://schemas.microsoft.com/office/drawing/2014/main" id="{3E54B9E1-F7FE-2C43-9B35-02C68CD6DC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2365" y="1963874"/>
            <a:ext cx="2758295" cy="1864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82662FDF-266A-404A-A328-30BC9A585674}"/>
              </a:ext>
            </a:extLst>
          </p:cNvPr>
          <p:cNvSpPr txBox="1">
            <a:spLocks/>
          </p:cNvSpPr>
          <p:nvPr/>
        </p:nvSpPr>
        <p:spPr>
          <a:xfrm>
            <a:off x="7082263" y="301483"/>
            <a:ext cx="6179897" cy="761997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r">
              <a:tabLst>
                <a:tab pos="82550" algn="l"/>
              </a:tabLst>
            </a:pPr>
            <a:r>
              <a:rPr lang="ru-RU" sz="240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оссийские железные дороги</a:t>
            </a:r>
          </a:p>
          <a:p>
            <a:pPr algn="r">
              <a:tabLst>
                <a:tab pos="82550" algn="l"/>
              </a:tabLst>
            </a:pPr>
            <a:endParaRPr lang="ru-RU" sz="300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23516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4498" name="Picture 2" descr="ООО «Газпром трансгаз Ставрополь» - Home | Facebook">
            <a:extLst>
              <a:ext uri="{FF2B5EF4-FFF2-40B4-BE49-F238E27FC236}">
                <a16:creationId xmlns:a16="http://schemas.microsoft.com/office/drawing/2014/main" id="{FE6CB3A3-7460-46FB-88BE-6DF427B8B8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971" b="30334"/>
          <a:stretch/>
        </p:blipFill>
        <p:spPr bwMode="auto">
          <a:xfrm>
            <a:off x="59532" y="1495426"/>
            <a:ext cx="4091781" cy="182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9">
            <a:extLst>
              <a:ext uri="{FF2B5EF4-FFF2-40B4-BE49-F238E27FC236}">
                <a16:creationId xmlns:a16="http://schemas.microsoft.com/office/drawing/2014/main" id="{22AA2DD2-5711-4820-B041-11C7F15AAB62}"/>
              </a:ext>
            </a:extLst>
          </p:cNvPr>
          <p:cNvSpPr/>
          <p:nvPr/>
        </p:nvSpPr>
        <p:spPr>
          <a:xfrm>
            <a:off x="365632" y="3941029"/>
            <a:ext cx="4157947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FF9300"/>
              </a:buClr>
            </a:pPr>
            <a:r>
              <a:rPr lang="en-US" sz="19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</a:t>
            </a:r>
            <a:r>
              <a:rPr lang="ru-RU" sz="1900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арт</a:t>
            </a:r>
            <a:r>
              <a:rPr lang="ru-RU" sz="19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проекта в 2021 г.</a:t>
            </a:r>
            <a:endParaRPr lang="en-US" sz="190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Aft>
                <a:spcPts val="600"/>
              </a:spcAft>
              <a:buClr>
                <a:srgbClr val="FF9300"/>
              </a:buClr>
            </a:pPr>
            <a:r>
              <a:rPr lang="ru-RU" sz="1900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700 +</a:t>
            </a:r>
            <a:r>
              <a:rPr lang="ru-RU" sz="1900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9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чётных записей</a:t>
            </a:r>
          </a:p>
          <a:p>
            <a:endParaRPr lang="en-US" altLang="en-US" sz="190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US" altLang="en-US" sz="190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Прямоугольник 6">
            <a:extLst>
              <a:ext uri="{FF2B5EF4-FFF2-40B4-BE49-F238E27FC236}">
                <a16:creationId xmlns:a16="http://schemas.microsoft.com/office/drawing/2014/main" id="{159B1EB4-FE7B-4EFB-B0FC-149BA15A2D7B}"/>
              </a:ext>
            </a:extLst>
          </p:cNvPr>
          <p:cNvSpPr/>
          <p:nvPr/>
        </p:nvSpPr>
        <p:spPr>
          <a:xfrm>
            <a:off x="4301558" y="3919658"/>
            <a:ext cx="4263314" cy="47441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spcAft>
                <a:spcPts val="600"/>
              </a:spcAft>
            </a:pPr>
            <a:r>
              <a:rPr lang="ru-RU" altLang="en-US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спользуемые сервисы:</a:t>
            </a:r>
          </a:p>
          <a:p>
            <a:pPr marL="342900" indent="-342900" fontAlgn="base">
              <a:spcAft>
                <a:spcPts val="600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электронная почта</a:t>
            </a:r>
          </a:p>
          <a:p>
            <a:pPr marL="342900" indent="-342900" fontAlgn="base">
              <a:spcAft>
                <a:spcPts val="600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лендари и планы</a:t>
            </a:r>
          </a:p>
          <a:p>
            <a:pPr marL="342900" indent="-342900" fontAlgn="base">
              <a:spcAft>
                <a:spcPts val="600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метки, задачи</a:t>
            </a:r>
          </a:p>
          <a:p>
            <a:pPr marL="342900" indent="-342900" fontAlgn="base">
              <a:spcAft>
                <a:spcPts val="600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дресная книга</a:t>
            </a:r>
          </a:p>
          <a:p>
            <a:pPr marL="342900" indent="-342900" fontAlgn="base">
              <a:spcAft>
                <a:spcPts val="600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гновенные сообщения</a:t>
            </a:r>
          </a:p>
          <a:p>
            <a:pPr marL="342900" indent="-342900" fontAlgn="base">
              <a:spcAft>
                <a:spcPts val="600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елефония</a:t>
            </a:r>
          </a:p>
          <a:p>
            <a:pPr marL="342900" indent="-342900" fontAlgn="base">
              <a:spcAft>
                <a:spcPts val="600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онтакт-центр</a:t>
            </a:r>
          </a:p>
          <a:p>
            <a:pPr marL="342900" indent="-342900" fontAlgn="base">
              <a:spcAft>
                <a:spcPts val="600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endParaRPr lang="ru-RU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 fontAlgn="base">
              <a:spcAft>
                <a:spcPts val="600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endParaRPr lang="ru-RU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6884D0C-500A-46DA-AB89-9B3795E81F96}"/>
              </a:ext>
            </a:extLst>
          </p:cNvPr>
          <p:cNvSpPr txBox="1">
            <a:spLocks/>
          </p:cNvSpPr>
          <p:nvPr/>
        </p:nvSpPr>
        <p:spPr>
          <a:xfrm>
            <a:off x="7082263" y="301483"/>
            <a:ext cx="6179897" cy="761997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ru-RU" sz="240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Газпром трансгаз</a:t>
            </a:r>
          </a:p>
          <a:p>
            <a:pPr algn="r"/>
            <a:r>
              <a:rPr lang="ru-RU" sz="240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таврополь</a:t>
            </a:r>
          </a:p>
          <a:p>
            <a:pPr algn="r">
              <a:tabLst>
                <a:tab pos="82550" algn="l"/>
              </a:tabLst>
            </a:pPr>
            <a:endParaRPr lang="ru-RU" sz="300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8" name="Picture 6" descr="ООО Газпром трансгаз Ставрополь — официальный сайт Кавказтрансгаз, адрес,  телефон">
            <a:extLst>
              <a:ext uri="{FF2B5EF4-FFF2-40B4-BE49-F238E27FC236}">
                <a16:creationId xmlns:a16="http://schemas.microsoft.com/office/drawing/2014/main" id="{EA366F75-09E4-48DB-BBA4-7EFCF06A612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81" r="17036"/>
          <a:stretch/>
        </p:blipFill>
        <p:spPr bwMode="auto">
          <a:xfrm>
            <a:off x="8580437" y="1457325"/>
            <a:ext cx="4864101" cy="6105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24432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72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4B417607-75C7-DA4F-A3A1-B52FB6ADF26A}"/>
              </a:ext>
            </a:extLst>
          </p:cNvPr>
          <p:cNvSpPr/>
          <p:nvPr/>
        </p:nvSpPr>
        <p:spPr>
          <a:xfrm>
            <a:off x="626269" y="4924425"/>
            <a:ext cx="5559939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FF9300"/>
              </a:buClr>
            </a:pPr>
            <a:r>
              <a:rPr lang="ru-RU" sz="2000" dirty="0">
                <a:solidFill>
                  <a:srgbClr val="E7E6E6">
                    <a:lumMod val="1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тарт проекта в 2019 г.</a:t>
            </a:r>
          </a:p>
          <a:p>
            <a:pPr>
              <a:spcAft>
                <a:spcPts val="600"/>
              </a:spcAft>
              <a:buClr>
                <a:srgbClr val="FF9300"/>
              </a:buClr>
            </a:pPr>
            <a:r>
              <a:rPr lang="ru-RU" sz="2000" dirty="0">
                <a:solidFill>
                  <a:srgbClr val="E7E6E6">
                    <a:lumMod val="1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50+ учётных записей</a:t>
            </a:r>
            <a:endParaRPr lang="en-US" sz="2000" dirty="0">
              <a:solidFill>
                <a:srgbClr val="E7E6E6">
                  <a:lumMod val="1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US" altLang="en-US" dirty="0">
              <a:solidFill>
                <a:srgbClr val="E7E6E6">
                  <a:lumMod val="1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en-US" dirty="0">
              <a:solidFill>
                <a:srgbClr val="E7E6E6">
                  <a:lumMod val="1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Прямоугольник 9">
            <a:extLst>
              <a:ext uri="{FF2B5EF4-FFF2-40B4-BE49-F238E27FC236}">
                <a16:creationId xmlns:a16="http://schemas.microsoft.com/office/drawing/2014/main" id="{CDD229D0-7043-1640-8D53-5A1A6D762ACA}"/>
              </a:ext>
            </a:extLst>
          </p:cNvPr>
          <p:cNvSpPr/>
          <p:nvPr/>
        </p:nvSpPr>
        <p:spPr>
          <a:xfrm>
            <a:off x="4283869" y="2790825"/>
            <a:ext cx="3831827" cy="4124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en-US" sz="2000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спользуемые сервисы</a:t>
            </a:r>
            <a:br>
              <a:rPr lang="ru-RU" altLang="en-US" sz="2000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ru-RU" altLang="en-US" sz="2000" b="1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ahoma" panose="020B0604030504040204" pitchFamily="34" charset="0"/>
              </a:rPr>
              <a:t>Электронная почта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ahoma" panose="020B0604030504040204" pitchFamily="34" charset="0"/>
              </a:rPr>
              <a:t>Календари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ahoma" panose="020B0604030504040204" pitchFamily="34" charset="0"/>
              </a:rPr>
              <a:t>Задачи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ahoma" panose="020B0604030504040204" pitchFamily="34" charset="0"/>
              </a:rPr>
              <a:t>Заметки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ahoma" panose="020B0604030504040204" pitchFamily="34" charset="0"/>
              </a:rPr>
              <a:t>Общий доступ к корпоративному контенту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ahoma" panose="020B0604030504040204" pitchFamily="34" charset="0"/>
              </a:rPr>
              <a:t>Мгновенные сообщения</a:t>
            </a:r>
          </a:p>
          <a:p>
            <a:pPr>
              <a:spcAft>
                <a:spcPts val="600"/>
              </a:spcAft>
              <a:buClr>
                <a:srgbClr val="FF9300"/>
              </a:buClr>
            </a:pPr>
            <a:endParaRPr lang="en-US" sz="1900" dirty="0">
              <a:solidFill>
                <a:srgbClr val="E7E6E6">
                  <a:lumMod val="1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US" altLang="en-US" sz="1900" dirty="0">
              <a:solidFill>
                <a:srgbClr val="E7E6E6">
                  <a:lumMod val="1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US" altLang="en-US" sz="1900" dirty="0">
              <a:solidFill>
                <a:srgbClr val="E7E6E6">
                  <a:lumMod val="1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26703" name="Picture 47" descr="Государственная Новосибирская областная клиническая больница в Новосибирске  на метро Студенческая — отзывы, адрес, телефон, фото — Фламп">
            <a:extLst>
              <a:ext uri="{FF2B5EF4-FFF2-40B4-BE49-F238E27FC236}">
                <a16:creationId xmlns:a16="http://schemas.microsoft.com/office/drawing/2014/main" id="{DA3B4CC1-1FEA-4B0D-A300-5D9911BA16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54" t="14223" r="8935" b="24404"/>
          <a:stretch/>
        </p:blipFill>
        <p:spPr bwMode="auto">
          <a:xfrm>
            <a:off x="16649" y="1952625"/>
            <a:ext cx="3460913" cy="25146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2AD0B6E1-E8BF-40D1-BAE6-75F270660D7D}"/>
              </a:ext>
            </a:extLst>
          </p:cNvPr>
          <p:cNvSpPr txBox="1">
            <a:spLocks/>
          </p:cNvSpPr>
          <p:nvPr/>
        </p:nvSpPr>
        <p:spPr>
          <a:xfrm>
            <a:off x="7082263" y="301483"/>
            <a:ext cx="6179897" cy="761997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ru-RU" altLang="en-US" sz="240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еринатальный центр Новосибирской области</a:t>
            </a:r>
          </a:p>
          <a:p>
            <a:pPr algn="r">
              <a:tabLst>
                <a:tab pos="82550" algn="l"/>
              </a:tabLst>
            </a:pPr>
            <a:endParaRPr lang="ru-RU" sz="3000" dirty="0">
              <a:solidFill>
                <a:srgbClr val="FF93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" name="Изображение 4"/>
          <p:cNvPicPr>
            <a:picLocks noChangeAspect="1"/>
          </p:cNvPicPr>
          <p:nvPr/>
        </p:nvPicPr>
        <p:blipFill rotWithShape="1">
          <a:blip r:embed="rId8"/>
          <a:srcRect l="7948" r="21883"/>
          <a:stretch/>
        </p:blipFill>
        <p:spPr>
          <a:xfrm>
            <a:off x="8297442" y="2181225"/>
            <a:ext cx="5147096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5282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8FF115A-301E-44BD-835A-1E122BE3CB98}"/>
              </a:ext>
            </a:extLst>
          </p:cNvPr>
          <p:cNvSpPr txBox="1">
            <a:spLocks/>
          </p:cNvSpPr>
          <p:nvPr/>
        </p:nvSpPr>
        <p:spPr>
          <a:xfrm>
            <a:off x="5045869" y="301483"/>
            <a:ext cx="8216291" cy="761997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r">
              <a:tabLst>
                <a:tab pos="82550" algn="l"/>
              </a:tabLst>
            </a:pPr>
            <a:r>
              <a:rPr lang="ru-RU" sz="240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циональный медико-хирургического Центр им. Н.И. Пирогова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B417607-75C7-DA4F-A3A1-B52FB6ADF26A}"/>
              </a:ext>
            </a:extLst>
          </p:cNvPr>
          <p:cNvSpPr/>
          <p:nvPr/>
        </p:nvSpPr>
        <p:spPr>
          <a:xfrm>
            <a:off x="626269" y="4924425"/>
            <a:ext cx="5559939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FF9300"/>
              </a:buClr>
            </a:pPr>
            <a:r>
              <a:rPr lang="ru-RU" sz="2000" dirty="0">
                <a:solidFill>
                  <a:srgbClr val="E7E6E6">
                    <a:lumMod val="1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тарт проекта в 2019 г.</a:t>
            </a:r>
          </a:p>
          <a:p>
            <a:pPr>
              <a:spcAft>
                <a:spcPts val="600"/>
              </a:spcAft>
              <a:buClr>
                <a:srgbClr val="FF9300"/>
              </a:buClr>
            </a:pPr>
            <a:r>
              <a:rPr lang="ru-RU" sz="2000" dirty="0">
                <a:solidFill>
                  <a:srgbClr val="E7E6E6">
                    <a:lumMod val="1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00+ учётных записей</a:t>
            </a:r>
            <a:endParaRPr lang="en-US" sz="2000" dirty="0">
              <a:solidFill>
                <a:srgbClr val="E7E6E6">
                  <a:lumMod val="1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US" altLang="en-US" dirty="0">
              <a:solidFill>
                <a:srgbClr val="E7E6E6">
                  <a:lumMod val="1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en-US" dirty="0">
              <a:solidFill>
                <a:srgbClr val="E7E6E6">
                  <a:lumMod val="1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Прямоугольник 9">
            <a:extLst>
              <a:ext uri="{FF2B5EF4-FFF2-40B4-BE49-F238E27FC236}">
                <a16:creationId xmlns:a16="http://schemas.microsoft.com/office/drawing/2014/main" id="{CDD229D0-7043-1640-8D53-5A1A6D762ACA}"/>
              </a:ext>
            </a:extLst>
          </p:cNvPr>
          <p:cNvSpPr/>
          <p:nvPr/>
        </p:nvSpPr>
        <p:spPr>
          <a:xfrm>
            <a:off x="4283869" y="2790825"/>
            <a:ext cx="3831827" cy="4124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en-US" sz="2000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спользуемые сервисы</a:t>
            </a:r>
            <a:br>
              <a:rPr lang="ru-RU" altLang="en-US" sz="2000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ru-RU" altLang="en-US" sz="2000" b="1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ahoma" panose="020B0604030504040204" pitchFamily="34" charset="0"/>
              </a:rPr>
              <a:t>Электронная почта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ahoma" panose="020B0604030504040204" pitchFamily="34" charset="0"/>
              </a:rPr>
              <a:t>Календари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ahoma" panose="020B0604030504040204" pitchFamily="34" charset="0"/>
              </a:rPr>
              <a:t>Задачи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ahoma" panose="020B0604030504040204" pitchFamily="34" charset="0"/>
              </a:rPr>
              <a:t>Заметки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ahoma" panose="020B0604030504040204" pitchFamily="34" charset="0"/>
              </a:rPr>
              <a:t>Общий доступ к корпоративному контенту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ahoma" panose="020B0604030504040204" pitchFamily="34" charset="0"/>
              </a:rPr>
              <a:t>Мгновенные сообщения</a:t>
            </a:r>
          </a:p>
          <a:p>
            <a:pPr>
              <a:spcAft>
                <a:spcPts val="600"/>
              </a:spcAft>
              <a:buClr>
                <a:srgbClr val="FF9300"/>
              </a:buClr>
            </a:pPr>
            <a:endParaRPr lang="en-US" sz="1900" dirty="0">
              <a:solidFill>
                <a:srgbClr val="E7E6E6">
                  <a:lumMod val="1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US" altLang="en-US" sz="1900" dirty="0">
              <a:solidFill>
                <a:srgbClr val="E7E6E6">
                  <a:lumMod val="1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US" altLang="en-US" sz="1900" dirty="0">
              <a:solidFill>
                <a:srgbClr val="E7E6E6">
                  <a:lumMod val="1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8" name="Изображение 7"/>
          <p:cNvPicPr>
            <a:picLocks noChangeAspect="1"/>
          </p:cNvPicPr>
          <p:nvPr/>
        </p:nvPicPr>
        <p:blipFill rotWithShape="1">
          <a:blip r:embed="rId2"/>
          <a:srcRect l="15267" t="15634" r="14362" b="15483"/>
          <a:stretch/>
        </p:blipFill>
        <p:spPr>
          <a:xfrm>
            <a:off x="702469" y="2105025"/>
            <a:ext cx="2681146" cy="2624422"/>
          </a:xfrm>
          <a:prstGeom prst="rect">
            <a:avLst/>
          </a:prstGeom>
        </p:spPr>
      </p:pic>
      <p:pic>
        <p:nvPicPr>
          <p:cNvPr id="9" name="Изображение 8"/>
          <p:cNvPicPr>
            <a:picLocks noChangeAspect="1"/>
          </p:cNvPicPr>
          <p:nvPr/>
        </p:nvPicPr>
        <p:blipFill rotWithShape="1">
          <a:blip r:embed="rId3"/>
          <a:srcRect l="21263" t="579" r="21305" b="-579"/>
          <a:stretch/>
        </p:blipFill>
        <p:spPr>
          <a:xfrm>
            <a:off x="8466777" y="2257425"/>
            <a:ext cx="4977761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7505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40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>
            <a:extLst>
              <a:ext uri="{FF2B5EF4-FFF2-40B4-BE49-F238E27FC236}">
                <a16:creationId xmlns:a16="http://schemas.microsoft.com/office/drawing/2014/main" id="{78FF115A-301E-44BD-835A-1E122BE3CB98}"/>
              </a:ext>
            </a:extLst>
          </p:cNvPr>
          <p:cNvSpPr txBox="1">
            <a:spLocks/>
          </p:cNvSpPr>
          <p:nvPr/>
        </p:nvSpPr>
        <p:spPr>
          <a:xfrm>
            <a:off x="5045869" y="301483"/>
            <a:ext cx="8216291" cy="761997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r">
              <a:tabLst>
                <a:tab pos="82550" algn="l"/>
              </a:tabLst>
            </a:pPr>
            <a:r>
              <a:rPr lang="ru-RU" sz="240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ерриториальные фонды ОМС</a:t>
            </a:r>
          </a:p>
          <a:p>
            <a:pPr>
              <a:tabLst>
                <a:tab pos="82550" algn="l"/>
              </a:tabLst>
            </a:pPr>
            <a:endParaRPr lang="ru-RU" sz="300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73869" y="4010025"/>
            <a:ext cx="6721475" cy="304698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400" dirty="0">
                <a:solidFill>
                  <a:srgbClr val="02050A"/>
                </a:solidFill>
                <a:latin typeface="Verdana"/>
                <a:cs typeface="Verdana"/>
              </a:rPr>
              <a:t>Более </a:t>
            </a:r>
            <a:r>
              <a:rPr lang="ru-RU" sz="2400" b="1" dirty="0">
                <a:solidFill>
                  <a:srgbClr val="02050A"/>
                </a:solidFill>
                <a:latin typeface="Verdana"/>
                <a:cs typeface="Verdana"/>
              </a:rPr>
              <a:t>1500</a:t>
            </a:r>
            <a:r>
              <a:rPr lang="ru-RU" sz="2400" dirty="0">
                <a:solidFill>
                  <a:srgbClr val="02050A"/>
                </a:solidFill>
                <a:latin typeface="Verdana"/>
                <a:cs typeface="Verdana"/>
              </a:rPr>
              <a:t> </a:t>
            </a:r>
            <a:r>
              <a:rPr lang="ru-RU" sz="2400" b="1" dirty="0">
                <a:solidFill>
                  <a:srgbClr val="02050A"/>
                </a:solidFill>
                <a:latin typeface="Verdana"/>
                <a:cs typeface="Verdana"/>
              </a:rPr>
              <a:t>сотрудников</a:t>
            </a:r>
            <a:r>
              <a:rPr lang="ru-RU" sz="2400" dirty="0">
                <a:solidFill>
                  <a:srgbClr val="02050A"/>
                </a:solidFill>
                <a:latin typeface="Verdana"/>
                <a:cs typeface="Verdana"/>
              </a:rPr>
              <a:t> территориальных фондов ОМС Московской, Ярославской, Свердловской, Новосибирской областей, а также республик Башкортостан и ХМАО в своей работе используют платформу корпоративных коммуникаций </a:t>
            </a:r>
            <a:r>
              <a:rPr lang="ru-RU" sz="2400" dirty="0" err="1">
                <a:solidFill>
                  <a:srgbClr val="02050A"/>
                </a:solidFill>
                <a:latin typeface="Verdana"/>
                <a:cs typeface="Verdana"/>
              </a:rPr>
              <a:t>CommuniGate</a:t>
            </a:r>
            <a:r>
              <a:rPr lang="ru-RU" sz="2400" dirty="0">
                <a:solidFill>
                  <a:srgbClr val="02050A"/>
                </a:solidFill>
                <a:latin typeface="Verdana"/>
                <a:cs typeface="Verdana"/>
              </a:rPr>
              <a:t> </a:t>
            </a:r>
            <a:r>
              <a:rPr lang="ru-RU" sz="2400" dirty="0" err="1">
                <a:solidFill>
                  <a:srgbClr val="02050A"/>
                </a:solidFill>
                <a:latin typeface="Verdana"/>
                <a:cs typeface="Verdana"/>
              </a:rPr>
              <a:t>Pro</a:t>
            </a:r>
            <a:r>
              <a:rPr lang="ru-RU" sz="2400" dirty="0">
                <a:solidFill>
                  <a:srgbClr val="02050A"/>
                </a:solidFill>
                <a:latin typeface="Verdana"/>
                <a:cs typeface="Verdana"/>
              </a:rPr>
              <a:t>. </a:t>
            </a:r>
          </a:p>
        </p:txBody>
      </p:sp>
      <p:pic>
        <p:nvPicPr>
          <p:cNvPr id="6" name="Изображение 5"/>
          <p:cNvPicPr>
            <a:picLocks noChangeAspect="1"/>
          </p:cNvPicPr>
          <p:nvPr/>
        </p:nvPicPr>
        <p:blipFill rotWithShape="1">
          <a:blip r:embed="rId6"/>
          <a:srcRect r="38196"/>
          <a:stretch/>
        </p:blipFill>
        <p:spPr>
          <a:xfrm>
            <a:off x="8398669" y="2257425"/>
            <a:ext cx="5045869" cy="4953000"/>
          </a:xfrm>
          <a:prstGeom prst="rect">
            <a:avLst/>
          </a:prstGeom>
        </p:spPr>
      </p:pic>
      <p:pic>
        <p:nvPicPr>
          <p:cNvPr id="7" name="Изображение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3869" y="1497489"/>
            <a:ext cx="1219200" cy="1040311"/>
          </a:xfrm>
          <a:prstGeom prst="rect">
            <a:avLst/>
          </a:prstGeom>
        </p:spPr>
      </p:pic>
      <p:pic>
        <p:nvPicPr>
          <p:cNvPr id="11" name="Изображение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26469" y="1446144"/>
            <a:ext cx="1143000" cy="1143000"/>
          </a:xfrm>
          <a:prstGeom prst="rect">
            <a:avLst/>
          </a:prstGeom>
        </p:spPr>
      </p:pic>
      <p:pic>
        <p:nvPicPr>
          <p:cNvPr id="12" name="Изображение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02869" y="1438084"/>
            <a:ext cx="1066800" cy="1159120"/>
          </a:xfrm>
          <a:prstGeom prst="rect">
            <a:avLst/>
          </a:prstGeom>
        </p:spPr>
      </p:pic>
      <p:pic>
        <p:nvPicPr>
          <p:cNvPr id="30" name="Изображение 29"/>
          <p:cNvPicPr>
            <a:picLocks noChangeAspect="1"/>
          </p:cNvPicPr>
          <p:nvPr/>
        </p:nvPicPr>
        <p:blipFill rotWithShape="1">
          <a:blip r:embed="rId10"/>
          <a:srcRect l="19943" t="13253" r="20227" b="16952"/>
          <a:stretch/>
        </p:blipFill>
        <p:spPr>
          <a:xfrm>
            <a:off x="550069" y="2564944"/>
            <a:ext cx="1185349" cy="1382761"/>
          </a:xfrm>
          <a:prstGeom prst="rect">
            <a:avLst/>
          </a:prstGeom>
        </p:spPr>
      </p:pic>
      <p:pic>
        <p:nvPicPr>
          <p:cNvPr id="31" name="Изображение 3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226469" y="2643684"/>
            <a:ext cx="1219200" cy="1225281"/>
          </a:xfrm>
          <a:prstGeom prst="rect">
            <a:avLst/>
          </a:prstGeom>
        </p:spPr>
      </p:pic>
      <p:pic>
        <p:nvPicPr>
          <p:cNvPr id="238592" name="Изображение 23859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826669" y="2562225"/>
            <a:ext cx="1524000" cy="1388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7188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15">
            <a:extLst>
              <a:ext uri="{FF2B5EF4-FFF2-40B4-BE49-F238E27FC236}">
                <a16:creationId xmlns:a16="http://schemas.microsoft.com/office/drawing/2014/main" id="{07B23B32-6D4C-7E49-A39C-4182A8394A36}"/>
              </a:ext>
            </a:extLst>
          </p:cNvPr>
          <p:cNvSpPr txBox="1">
            <a:spLocks/>
          </p:cNvSpPr>
          <p:nvPr/>
        </p:nvSpPr>
        <p:spPr>
          <a:xfrm>
            <a:off x="473869" y="1266825"/>
            <a:ext cx="6019005" cy="4816701"/>
          </a:xfrm>
          <a:prstGeom prst="rect">
            <a:avLst/>
          </a:prstGeom>
        </p:spPr>
        <p:txBody>
          <a:bodyPr vert="horz" wrap="square" lIns="0" tIns="15237" rIns="0" bIns="0" numCol="1" spcCol="539874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pPr marL="342819" indent="-342819">
              <a:spcBef>
                <a:spcPts val="600"/>
              </a:spcBef>
              <a:spcAft>
                <a:spcPts val="600"/>
              </a:spcAft>
              <a:buClr>
                <a:srgbClr val="FF9300"/>
              </a:buClr>
              <a:buFont typeface="Arial" panose="020B0604020202020204" pitchFamily="34" charset="0"/>
              <a:buChar char="•"/>
              <a:defRPr/>
            </a:pPr>
            <a:r>
              <a:rPr lang="ru-RU" altLang="en-US" sz="1800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чащимся </a:t>
            </a:r>
            <a:r>
              <a:rPr lang="ru-RU" altLang="en-US" sz="18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 лицензии на использование </a:t>
            </a:r>
            <a:r>
              <a:rPr lang="ru-RU" altLang="en-US" sz="1800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есплатно!</a:t>
            </a:r>
            <a:endParaRPr lang="ru-RU" altLang="en-US" sz="180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819" indent="-342819">
              <a:spcBef>
                <a:spcPts val="600"/>
              </a:spcBef>
              <a:spcAft>
                <a:spcPts val="600"/>
              </a:spcAft>
              <a:buClr>
                <a:srgbClr val="FF9300"/>
              </a:buClr>
              <a:buFont typeface="Arial" panose="020B0604020202020204" pitchFamily="34" charset="0"/>
              <a:buChar char="•"/>
              <a:defRPr/>
            </a:pPr>
            <a:r>
              <a:rPr lang="ru-RU" altLang="en-US" sz="1800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еподавателям </a:t>
            </a:r>
            <a:r>
              <a:rPr lang="ru-RU" altLang="en-US" sz="18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 учителям – особые условия и </a:t>
            </a:r>
            <a:r>
              <a:rPr lang="ru-RU" altLang="en-US" sz="1800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кидки</a:t>
            </a:r>
          </a:p>
          <a:p>
            <a:pPr marL="342819" indent="-342819">
              <a:spcBef>
                <a:spcPts val="600"/>
              </a:spcBef>
              <a:spcAft>
                <a:spcPts val="600"/>
              </a:spcAft>
              <a:buClr>
                <a:srgbClr val="FF9300"/>
              </a:buClr>
              <a:buFont typeface="Arial" panose="020B0604020202020204" pitchFamily="34" charset="0"/>
              <a:buChar char="•"/>
              <a:defRPr/>
            </a:pPr>
            <a:r>
              <a:rPr lang="ru-RU" altLang="en-US" sz="1800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етребовательность к ресурсам </a:t>
            </a:r>
            <a:r>
              <a:rPr lang="ru-RU" altLang="en-US" sz="18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 можно использовать любое имеющееся оборудование</a:t>
            </a:r>
          </a:p>
          <a:p>
            <a:pPr marL="342819" indent="-342819">
              <a:spcBef>
                <a:spcPts val="600"/>
              </a:spcBef>
              <a:spcAft>
                <a:spcPts val="600"/>
              </a:spcAft>
              <a:buClr>
                <a:srgbClr val="FF9300"/>
              </a:buClr>
              <a:buFont typeface="Arial" panose="020B0604020202020204" pitchFamily="34" charset="0"/>
              <a:buChar char="•"/>
              <a:defRPr/>
            </a:pPr>
            <a:r>
              <a:rPr lang="ru-RU" altLang="en-US" sz="1800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дежность</a:t>
            </a:r>
          </a:p>
          <a:p>
            <a:pPr marL="342819" indent="-342819">
              <a:spcBef>
                <a:spcPts val="600"/>
              </a:spcBef>
              <a:spcAft>
                <a:spcPts val="600"/>
              </a:spcAft>
              <a:buClr>
                <a:srgbClr val="FF9300"/>
              </a:buClr>
              <a:buFont typeface="Arial" panose="020B0604020202020204" pitchFamily="34" charset="0"/>
              <a:buChar char="•"/>
              <a:defRPr/>
            </a:pPr>
            <a:r>
              <a:rPr lang="ru-RU" altLang="en-US" sz="1800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стота установки</a:t>
            </a:r>
            <a:r>
              <a:rPr lang="ru-RU" altLang="en-US" sz="18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поддержки </a:t>
            </a:r>
            <a:br>
              <a:rPr lang="ru-RU" altLang="en-US" sz="18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altLang="en-US" sz="18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 обслуживания</a:t>
            </a:r>
          </a:p>
          <a:p>
            <a:pPr marL="342819" indent="-342819">
              <a:spcBef>
                <a:spcPts val="600"/>
              </a:spcBef>
              <a:spcAft>
                <a:spcPts val="600"/>
              </a:spcAft>
              <a:buClr>
                <a:srgbClr val="FF9300"/>
              </a:buClr>
              <a:buFont typeface="Arial" panose="020B0604020202020204" pitchFamily="34" charset="0"/>
              <a:buChar char="•"/>
              <a:defRPr/>
            </a:pPr>
            <a:r>
              <a:rPr lang="ru-RU" altLang="en-US" sz="18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деальное соблюдение требований </a:t>
            </a:r>
            <a:r>
              <a:rPr lang="ru-RU" altLang="en-US" sz="1800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литики импортозамещения</a:t>
            </a:r>
            <a:endParaRPr lang="ru-RU" altLang="en-US" sz="180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819" indent="-342819">
              <a:spcBef>
                <a:spcPts val="600"/>
              </a:spcBef>
              <a:spcAft>
                <a:spcPts val="600"/>
              </a:spcAft>
              <a:buClr>
                <a:srgbClr val="FF9300"/>
              </a:buClr>
              <a:buFont typeface="Arial" panose="020B0604020202020204" pitchFamily="34" charset="0"/>
              <a:buChar char="•"/>
              <a:defRPr/>
            </a:pPr>
            <a:r>
              <a:rPr lang="ru-RU" altLang="en-US" sz="1800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нтеграция</a:t>
            </a:r>
            <a:r>
              <a:rPr lang="ru-RU" altLang="en-US" sz="18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с большинством популярных систем и решений: </a:t>
            </a:r>
            <a:r>
              <a:rPr lang="en-US" altLang="en-US" sz="18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C, </a:t>
            </a:r>
            <a:r>
              <a:rPr lang="ru-RU" altLang="en-US" sz="18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онсультант, СМЭВ, </a:t>
            </a:r>
            <a:r>
              <a:rPr lang="ru-RU" altLang="en-US" sz="1800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оцсети</a:t>
            </a:r>
            <a:r>
              <a:rPr lang="ru-RU" altLang="en-US" sz="18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мессенджеры и др.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6D23948-C5E1-B64A-9D82-20C96EE12BD6}"/>
              </a:ext>
            </a:extLst>
          </p:cNvPr>
          <p:cNvSpPr/>
          <p:nvPr/>
        </p:nvSpPr>
        <p:spPr>
          <a:xfrm>
            <a:off x="181105" y="733530"/>
            <a:ext cx="140366" cy="1403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10" rIns="91419" bIns="45710" rtlCol="0" anchor="ctr"/>
          <a:lstStyle/>
          <a:p>
            <a:pPr algn="ctr"/>
            <a:endParaRPr lang="x-none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BFE078A2-9962-3F46-9FD3-12AE3CAA678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2002" y="265886"/>
            <a:ext cx="2285999" cy="59136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C1D61F0-4E65-5648-A216-9FE0C05C2DF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97204" y="1262828"/>
            <a:ext cx="6547336" cy="5332805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7BBC230D-F521-40D7-9A29-5C3413A8D8E1}"/>
              </a:ext>
            </a:extLst>
          </p:cNvPr>
          <p:cNvSpPr txBox="1">
            <a:spLocks/>
          </p:cNvSpPr>
          <p:nvPr/>
        </p:nvSpPr>
        <p:spPr>
          <a:xfrm>
            <a:off x="4082313" y="322382"/>
            <a:ext cx="9179848" cy="761997"/>
          </a:xfrm>
          <a:prstGeom prst="rect">
            <a:avLst/>
          </a:prstGeom>
        </p:spPr>
        <p:txBody>
          <a:bodyPr vert="horz" lIns="0" tIns="45710" rIns="91419" bIns="45710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r">
              <a:tabLst>
                <a:tab pos="82531" algn="l"/>
              </a:tabLst>
            </a:pPr>
            <a:r>
              <a:rPr lang="ru-RU" sz="240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пециальные условия </a:t>
            </a:r>
            <a:br>
              <a:rPr lang="ru-RU" sz="240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240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 выгоды для учебных заведений</a:t>
            </a:r>
          </a:p>
          <a:p>
            <a:pPr>
              <a:tabLst>
                <a:tab pos="82531" algn="l"/>
              </a:tabLst>
            </a:pPr>
            <a:endParaRPr lang="ru-RU" sz="300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97556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3">
            <a:extLst>
              <a:ext uri="{FF2B5EF4-FFF2-40B4-BE49-F238E27FC236}">
                <a16:creationId xmlns:a16="http://schemas.microsoft.com/office/drawing/2014/main" id="{412F1B06-38E5-4563-8112-2074814C19C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99000"/>
                    </a14:imgEffect>
                    <a14:imgEffect>
                      <a14:brightnessContrast bright="-19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60907" t="29227" b="9493"/>
          <a:stretch/>
        </p:blipFill>
        <p:spPr>
          <a:xfrm>
            <a:off x="-1" y="-1"/>
            <a:ext cx="7119145" cy="75628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B79F5C83-0C40-4442-B271-59CA48E9E5E4}"/>
              </a:ext>
            </a:extLst>
          </p:cNvPr>
          <p:cNvSpPr txBox="1">
            <a:spLocks/>
          </p:cNvSpPr>
          <p:nvPr/>
        </p:nvSpPr>
        <p:spPr>
          <a:xfrm>
            <a:off x="7618810" y="1321538"/>
            <a:ext cx="6171406" cy="761997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>
              <a:tabLst>
                <a:tab pos="82550" algn="l"/>
              </a:tabLst>
            </a:pPr>
            <a:r>
              <a:rPr lang="en-US" sz="3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muniGate Systems</a:t>
            </a:r>
            <a:r>
              <a:rPr lang="ru-RU" sz="3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</a:p>
        </p:txBody>
      </p:sp>
      <p:sp>
        <p:nvSpPr>
          <p:cNvPr id="22" name="object 15">
            <a:extLst>
              <a:ext uri="{FF2B5EF4-FFF2-40B4-BE49-F238E27FC236}">
                <a16:creationId xmlns:a16="http://schemas.microsoft.com/office/drawing/2014/main" id="{9AADDEED-7570-4DD1-86A4-35EECA9C5EA0}"/>
              </a:ext>
            </a:extLst>
          </p:cNvPr>
          <p:cNvSpPr txBox="1">
            <a:spLocks/>
          </p:cNvSpPr>
          <p:nvPr/>
        </p:nvSpPr>
        <p:spPr>
          <a:xfrm>
            <a:off x="7618016" y="2380519"/>
            <a:ext cx="5212215" cy="3739485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pPr marL="30003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altLang="en-US" sz="2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оздана российскими</a:t>
            </a:r>
            <a:r>
              <a:rPr lang="en-US" altLang="en-US" sz="2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altLang="en-US" sz="2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граммистами</a:t>
            </a:r>
          </a:p>
          <a:p>
            <a:pPr marL="30003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altLang="en-US" sz="2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ез малого - 30 лет на рынке</a:t>
            </a:r>
          </a:p>
          <a:p>
            <a:pPr marL="30003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altLang="en-US" sz="2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оловной офис и центр разработки – в Москве</a:t>
            </a:r>
          </a:p>
          <a:p>
            <a:pPr marL="300037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граммные решения включены в Единый реестр российского ПО ( </a:t>
            </a:r>
            <a:r>
              <a:rPr lang="ru-RU" sz="2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7112</a:t>
            </a:r>
            <a:r>
              <a:rPr lang="ru-RU" sz="2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 </a:t>
            </a:r>
            <a:r>
              <a:rPr lang="ru-RU" sz="2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9553</a:t>
            </a:r>
            <a:r>
              <a:rPr lang="ru-RU" sz="2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 </a:t>
            </a:r>
            <a:r>
              <a:rPr lang="ru-RU" sz="2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9554</a:t>
            </a:r>
            <a:r>
              <a:rPr lang="ru-RU" sz="2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 и </a:t>
            </a:r>
            <a:r>
              <a:rPr lang="ru-RU" sz="2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8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6296</a:t>
            </a:r>
            <a:r>
              <a:rPr lang="ru-RU" sz="2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) и соответствуют требованиям сертификации ФСТЭК.</a:t>
            </a:r>
            <a:endParaRPr lang="en-US" altLang="en-US" sz="200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Aft>
                <a:spcPts val="600"/>
              </a:spcAft>
            </a:pPr>
            <a:endParaRPr lang="ru-RU" altLang="en-US" sz="2200" dirty="0">
              <a:solidFill>
                <a:srgbClr val="1A6491"/>
              </a:solidFill>
              <a:latin typeface="Ubuntu" panose="020B0504030602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D0A7DCDB-09F8-40AB-BF3F-2069BF5B4866}"/>
              </a:ext>
            </a:extLst>
          </p:cNvPr>
          <p:cNvSpPr txBox="1">
            <a:spLocks/>
          </p:cNvSpPr>
          <p:nvPr/>
        </p:nvSpPr>
        <p:spPr>
          <a:xfrm>
            <a:off x="550862" y="1115928"/>
            <a:ext cx="6171407" cy="761997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>
              <a:tabLst>
                <a:tab pos="82550" algn="l"/>
              </a:tabLst>
            </a:pPr>
            <a:r>
              <a:rPr lang="ru-RU" sz="300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Флагманский продукт – решение </a:t>
            </a:r>
            <a:r>
              <a:rPr lang="en-US" sz="300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muniGate Pro </a:t>
            </a:r>
            <a:endParaRPr lang="ru-RU" sz="3000" dirty="0">
              <a:solidFill>
                <a:srgbClr val="FF93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object 15">
            <a:extLst>
              <a:ext uri="{FF2B5EF4-FFF2-40B4-BE49-F238E27FC236}">
                <a16:creationId xmlns:a16="http://schemas.microsoft.com/office/drawing/2014/main" id="{01AFA628-E513-49EA-9F84-FEFEA83C1074}"/>
              </a:ext>
            </a:extLst>
          </p:cNvPr>
          <p:cNvSpPr txBox="1">
            <a:spLocks/>
          </p:cNvSpPr>
          <p:nvPr/>
        </p:nvSpPr>
        <p:spPr>
          <a:xfrm>
            <a:off x="540079" y="2328005"/>
            <a:ext cx="6302276" cy="630942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pPr marL="14288"/>
            <a:r>
              <a:rPr lang="ru-RU" altLang="en-US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998 г. – версия 1.0 </a:t>
            </a:r>
          </a:p>
          <a:p>
            <a:pPr marL="14288"/>
            <a:r>
              <a:rPr lang="ru-RU" altLang="en-US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0 г. – обновленный релиз – версия 6.3</a:t>
            </a:r>
          </a:p>
        </p:txBody>
      </p:sp>
      <p:sp>
        <p:nvSpPr>
          <p:cNvPr id="25" name="object 15">
            <a:extLst>
              <a:ext uri="{FF2B5EF4-FFF2-40B4-BE49-F238E27FC236}">
                <a16:creationId xmlns:a16="http://schemas.microsoft.com/office/drawing/2014/main" id="{5941E45E-53BB-45D0-A5A2-A7B4357F1B9B}"/>
              </a:ext>
            </a:extLst>
          </p:cNvPr>
          <p:cNvSpPr txBox="1">
            <a:spLocks/>
          </p:cNvSpPr>
          <p:nvPr/>
        </p:nvSpPr>
        <p:spPr>
          <a:xfrm>
            <a:off x="2106534" y="3425334"/>
            <a:ext cx="3929935" cy="78483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r>
              <a:rPr lang="ru-RU" altLang="en-US" sz="3000" b="1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50 000 000+</a:t>
            </a:r>
          </a:p>
          <a:p>
            <a:r>
              <a:rPr lang="ru-RU" altLang="en-US" sz="2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чётных записей</a:t>
            </a:r>
            <a:endParaRPr lang="ru-RU" altLang="en-US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object 15">
            <a:extLst>
              <a:ext uri="{FF2B5EF4-FFF2-40B4-BE49-F238E27FC236}">
                <a16:creationId xmlns:a16="http://schemas.microsoft.com/office/drawing/2014/main" id="{3859E133-D811-4A47-8EAC-EE1A6576B329}"/>
              </a:ext>
            </a:extLst>
          </p:cNvPr>
          <p:cNvSpPr txBox="1">
            <a:spLocks/>
          </p:cNvSpPr>
          <p:nvPr/>
        </p:nvSpPr>
        <p:spPr>
          <a:xfrm>
            <a:off x="2106534" y="4683473"/>
            <a:ext cx="2663825" cy="78483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r>
              <a:rPr lang="ru-RU" altLang="en-US" sz="3000" b="1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8 000+</a:t>
            </a:r>
          </a:p>
          <a:p>
            <a:r>
              <a:rPr lang="ru-RU" altLang="en-US" sz="2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нсталляций</a:t>
            </a:r>
            <a:endParaRPr lang="ru-RU" altLang="en-US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object 15">
            <a:extLst>
              <a:ext uri="{FF2B5EF4-FFF2-40B4-BE49-F238E27FC236}">
                <a16:creationId xmlns:a16="http://schemas.microsoft.com/office/drawing/2014/main" id="{B265CB4B-4B40-453B-A8B2-61B40EF09AFE}"/>
              </a:ext>
            </a:extLst>
          </p:cNvPr>
          <p:cNvSpPr txBox="1">
            <a:spLocks/>
          </p:cNvSpPr>
          <p:nvPr/>
        </p:nvSpPr>
        <p:spPr>
          <a:xfrm>
            <a:off x="2106534" y="5973556"/>
            <a:ext cx="3209947" cy="614527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pPr>
              <a:lnSpc>
                <a:spcPct val="150000"/>
              </a:lnSpc>
            </a:pPr>
            <a:r>
              <a:rPr lang="ru-RU" altLang="en-US" sz="2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</a:t>
            </a:r>
            <a:r>
              <a:rPr lang="ru-RU" altLang="en-US" sz="3000" b="1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3</a:t>
            </a:r>
            <a:r>
              <a:rPr lang="ru-RU" altLang="en-US" sz="3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altLang="en-US" sz="2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транах мира</a:t>
            </a:r>
            <a:endParaRPr lang="ru-RU" altLang="en-US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4C30A990-7634-4880-BA07-2F4BBAEC298E}"/>
              </a:ext>
            </a:extLst>
          </p:cNvPr>
          <p:cNvSpPr txBox="1">
            <a:spLocks/>
          </p:cNvSpPr>
          <p:nvPr/>
        </p:nvSpPr>
        <p:spPr>
          <a:xfrm>
            <a:off x="5809962" y="384278"/>
            <a:ext cx="7075341" cy="730353"/>
          </a:xfrm>
          <a:prstGeom prst="rect">
            <a:avLst/>
          </a:prstGeom>
        </p:spPr>
        <p:txBody>
          <a:bodyPr vert="horz" lIns="0" tIns="45718" rIns="91437" bIns="45718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r">
              <a:tabLst>
                <a:tab pos="82544" algn="l"/>
              </a:tabLst>
            </a:pPr>
            <a:r>
              <a:rPr lang="ru-RU" sz="240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 компании</a:t>
            </a:r>
            <a:endParaRPr lang="ru-RU" sz="240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C08E3F7C-AB80-438C-AAEB-7B377383B8D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4" y="276225"/>
            <a:ext cx="2277571" cy="5904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42C1F3B-9763-4E27-8641-013589EC317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22" y="3470643"/>
            <a:ext cx="932690" cy="896114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3F42B79-7A4E-4244-A627-57A8F175EBB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062" y="4791646"/>
            <a:ext cx="978410" cy="676657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AF8AA8D-5420-4820-999B-F20542EFF5C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782" y="5871263"/>
            <a:ext cx="932690" cy="932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5280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97BAF90-AF9D-4670-96E7-24B526CB2622}"/>
              </a:ext>
            </a:extLst>
          </p:cNvPr>
          <p:cNvSpPr/>
          <p:nvPr/>
        </p:nvSpPr>
        <p:spPr>
          <a:xfrm>
            <a:off x="8551070" y="2286710"/>
            <a:ext cx="4893468" cy="4845334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38597" name="Picture 5" descr="http://aggf.ru/upload/iblock/00f/00f3b5ea72064f0bb63d0645e0112f70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1469" y="1800225"/>
            <a:ext cx="3545586" cy="25523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54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9">
            <a:extLst>
              <a:ext uri="{FF2B5EF4-FFF2-40B4-BE49-F238E27FC236}">
                <a16:creationId xmlns:a16="http://schemas.microsoft.com/office/drawing/2014/main" id="{46125A44-A924-6E48-85FD-55A3813F97F9}"/>
              </a:ext>
            </a:extLst>
          </p:cNvPr>
          <p:cNvSpPr/>
          <p:nvPr/>
        </p:nvSpPr>
        <p:spPr>
          <a:xfrm>
            <a:off x="550069" y="4848225"/>
            <a:ext cx="3962400" cy="33855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FF9300"/>
              </a:buClr>
            </a:pPr>
            <a:r>
              <a:rPr lang="ru-RU" sz="2000" dirty="0">
                <a:solidFill>
                  <a:srgbClr val="E7E6E6">
                    <a:lumMod val="1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2+ лет эксплуатации</a:t>
            </a:r>
          </a:p>
          <a:p>
            <a:pPr>
              <a:spcAft>
                <a:spcPts val="600"/>
              </a:spcAft>
              <a:buClr>
                <a:srgbClr val="FF9300"/>
              </a:buClr>
            </a:pPr>
            <a:r>
              <a:rPr lang="en-US" sz="2000" b="1" dirty="0">
                <a:solidFill>
                  <a:srgbClr val="E7E6E6">
                    <a:lumMod val="1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</a:t>
            </a:r>
            <a:r>
              <a:rPr lang="ru-RU" sz="2000" b="1" dirty="0">
                <a:solidFill>
                  <a:srgbClr val="E7E6E6">
                    <a:lumMod val="1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000+ пользователей</a:t>
            </a:r>
          </a:p>
          <a:p>
            <a:pPr>
              <a:spcAft>
                <a:spcPts val="600"/>
              </a:spcAft>
              <a:buClr>
                <a:srgbClr val="FF9300"/>
              </a:buClr>
            </a:pPr>
            <a:r>
              <a:rPr lang="ru-RU" sz="2000" dirty="0">
                <a:solidFill>
                  <a:srgbClr val="E7E6E6">
                    <a:lumMod val="1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играция с </a:t>
            </a:r>
            <a:r>
              <a:rPr lang="ru-RU" sz="2000" dirty="0" err="1">
                <a:solidFill>
                  <a:srgbClr val="E7E6E6">
                    <a:lumMod val="1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eeBSD</a:t>
            </a:r>
            <a:r>
              <a:rPr lang="ru-RU" sz="2000" dirty="0">
                <a:solidFill>
                  <a:srgbClr val="E7E6E6">
                    <a:lumMod val="1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/ </a:t>
            </a:r>
            <a:r>
              <a:rPr lang="ru-RU" sz="2000" dirty="0" err="1">
                <a:solidFill>
                  <a:srgbClr val="E7E6E6">
                    <a:lumMod val="1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ndmail</a:t>
            </a:r>
            <a:r>
              <a:rPr lang="ru-RU" sz="2000" dirty="0">
                <a:solidFill>
                  <a:srgbClr val="E7E6E6">
                    <a:lumMod val="1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/</a:t>
            </a:r>
            <a:r>
              <a:rPr lang="ru-RU" sz="2000" dirty="0" err="1">
                <a:solidFill>
                  <a:srgbClr val="E7E6E6">
                    <a:lumMod val="1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popper</a:t>
            </a:r>
            <a:endParaRPr lang="ru-RU" sz="2000" dirty="0">
              <a:solidFill>
                <a:srgbClr val="E7E6E6">
                  <a:lumMod val="1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Aft>
                <a:spcPts val="600"/>
              </a:spcAft>
              <a:buClr>
                <a:srgbClr val="FF9300"/>
              </a:buClr>
            </a:pPr>
            <a:r>
              <a:rPr lang="en-US" sz="2000" dirty="0">
                <a:solidFill>
                  <a:srgbClr val="E7E6E6">
                    <a:lumMod val="1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ll-</a:t>
            </a:r>
            <a:r>
              <a:rPr lang="ru-RU" sz="2000" dirty="0">
                <a:solidFill>
                  <a:srgbClr val="E7E6E6">
                    <a:lumMod val="1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центр приемной комиссии</a:t>
            </a:r>
          </a:p>
          <a:p>
            <a:pPr>
              <a:spcAft>
                <a:spcPts val="600"/>
              </a:spcAft>
              <a:buClr>
                <a:srgbClr val="FF9300"/>
              </a:buClr>
            </a:pPr>
            <a:endParaRPr lang="ru-RU" sz="1600" dirty="0">
              <a:solidFill>
                <a:srgbClr val="E7E6E6">
                  <a:lumMod val="1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Aft>
                <a:spcPts val="600"/>
              </a:spcAft>
              <a:buClr>
                <a:srgbClr val="FF9300"/>
              </a:buClr>
            </a:pPr>
            <a:endParaRPr lang="ru-RU" sz="1600" dirty="0">
              <a:solidFill>
                <a:srgbClr val="E7E6E6">
                  <a:lumMod val="1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US" altLang="en-US" sz="1600" dirty="0">
              <a:solidFill>
                <a:srgbClr val="E7E6E6">
                  <a:lumMod val="1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US" altLang="en-US" sz="1600" dirty="0">
              <a:solidFill>
                <a:srgbClr val="E7E6E6">
                  <a:lumMod val="1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Прямоугольник 6">
            <a:extLst>
              <a:ext uri="{FF2B5EF4-FFF2-40B4-BE49-F238E27FC236}">
                <a16:creationId xmlns:a16="http://schemas.microsoft.com/office/drawing/2014/main" id="{3851B3B0-B2AC-004B-A29B-50A26A2A390A}"/>
              </a:ext>
            </a:extLst>
          </p:cNvPr>
          <p:cNvSpPr/>
          <p:nvPr/>
        </p:nvSpPr>
        <p:spPr>
          <a:xfrm>
            <a:off x="4664869" y="2257425"/>
            <a:ext cx="3435047" cy="33088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Aft>
                <a:spcPts val="600"/>
              </a:spcAft>
              <a:buClr>
                <a:srgbClr val="FF9900"/>
              </a:buClr>
            </a:pPr>
            <a:r>
              <a:rPr lang="ru-RU" sz="2000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ahoma" panose="020B0604030504040204" pitchFamily="34" charset="0"/>
              </a:rPr>
              <a:t>Интеграция:</a:t>
            </a:r>
          </a:p>
          <a:p>
            <a:pPr marL="285750" indent="-285750" fontAlgn="base">
              <a:spcAft>
                <a:spcPts val="600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sz="2000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ahoma" panose="020B0604030504040204" pitchFamily="34" charset="0"/>
              </a:rPr>
              <a:t>LanBilling</a:t>
            </a:r>
            <a:r>
              <a:rPr lang="ru-RU" sz="2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ahoma" panose="020B0604030504040204" pitchFamily="34" charset="0"/>
              </a:rPr>
              <a:t>, «Электронный университет», и т.д.</a:t>
            </a:r>
          </a:p>
          <a:p>
            <a:pPr marL="285750" indent="-285750" fontAlgn="base">
              <a:spcAft>
                <a:spcPts val="600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endParaRPr lang="ru-RU" sz="200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Tahoma" panose="020B0604030504040204" pitchFamily="34" charset="0"/>
            </a:endParaRPr>
          </a:p>
          <a:p>
            <a:r>
              <a:rPr lang="ru-RU" altLang="en-US" sz="2000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спользуемые сервисы</a:t>
            </a:r>
            <a:br>
              <a:rPr lang="ru-RU" altLang="en-US" sz="2000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ru-RU" altLang="en-US" sz="2000" b="1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ahoma" panose="020B0604030504040204" pitchFamily="34" charset="0"/>
              </a:rPr>
              <a:t>электронная почта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ahoma" panose="020B0604030504040204" pitchFamily="34" charset="0"/>
              </a:rPr>
              <a:t>календари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ahoma" panose="020B0604030504040204" pitchFamily="34" charset="0"/>
              </a:rPr>
              <a:t>мгновенные сообщения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ahoma" panose="020B0604030504040204" pitchFamily="34" charset="0"/>
              </a:rPr>
              <a:t>VoIP</a:t>
            </a:r>
            <a:endParaRPr lang="ru-RU" sz="200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Tahom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Tahoma" panose="020B0604030504040204" pitchFamily="34" charset="0"/>
              </a:rPr>
              <a:t>Контакт-центр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endParaRPr lang="ru-RU" sz="200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Tahoma" panose="020B0604030504040204" pitchFamily="34" charset="0"/>
            </a:endParaRPr>
          </a:p>
          <a:p>
            <a:pPr marL="342900" indent="-342900" fontAlgn="base">
              <a:spcAft>
                <a:spcPts val="600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endParaRPr lang="ru-RU" sz="16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 fontAlgn="base">
              <a:spcAft>
                <a:spcPts val="600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endParaRPr lang="ru-RU" sz="16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fontAlgn="base">
              <a:spcAft>
                <a:spcPts val="600"/>
              </a:spcAft>
              <a:buClr>
                <a:srgbClr val="FF9900"/>
              </a:buClr>
            </a:pPr>
            <a:endParaRPr lang="ru-RU" sz="16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FAFBA2F-05A4-4187-B0AE-EA52E72CD449}"/>
              </a:ext>
            </a:extLst>
          </p:cNvPr>
          <p:cNvSpPr txBox="1"/>
          <p:nvPr/>
        </p:nvSpPr>
        <p:spPr>
          <a:xfrm>
            <a:off x="9062044" y="2539390"/>
            <a:ext cx="3950494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i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ы – ведущий технический университет страны, поэтому нам особенно важно иметь стабильно работающую, современную и технологичную платформу с понятным интерфейсом. Особенно полезной </a:t>
            </a:r>
            <a:r>
              <a:rPr lang="ru-RU" i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muniGate</a:t>
            </a:r>
            <a:r>
              <a:rPr lang="ru-RU" i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i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</a:t>
            </a:r>
            <a:r>
              <a:rPr lang="ru-RU" i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оказалась во время пандемии, когда практически все сотрудники и учащиеся трудились дистанционно.</a:t>
            </a:r>
          </a:p>
          <a:p>
            <a:endParaRPr lang="ru-RU" i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ru-RU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авел </a:t>
            </a:r>
            <a:r>
              <a:rPr lang="ru-RU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Дермер</a:t>
            </a:r>
            <a:r>
              <a:rPr lang="ru-RU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проректор по информатизации МГТУ им. Баумана </a:t>
            </a:r>
            <a:endParaRPr lang="ru-RU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64307A8-8622-4345-91F4-C6008058519D}"/>
              </a:ext>
            </a:extLst>
          </p:cNvPr>
          <p:cNvSpPr txBox="1"/>
          <p:nvPr/>
        </p:nvSpPr>
        <p:spPr>
          <a:xfrm>
            <a:off x="8611588" y="2286710"/>
            <a:ext cx="215344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«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5FD0AC3-CF84-4AA8-B222-250178BE2E38}"/>
              </a:ext>
            </a:extLst>
          </p:cNvPr>
          <p:cNvSpPr txBox="1"/>
          <p:nvPr/>
        </p:nvSpPr>
        <p:spPr>
          <a:xfrm>
            <a:off x="12116788" y="5322010"/>
            <a:ext cx="215344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»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78FF115A-301E-44BD-835A-1E122BE3CB98}"/>
              </a:ext>
            </a:extLst>
          </p:cNvPr>
          <p:cNvSpPr txBox="1">
            <a:spLocks/>
          </p:cNvSpPr>
          <p:nvPr/>
        </p:nvSpPr>
        <p:spPr>
          <a:xfrm>
            <a:off x="5045869" y="301483"/>
            <a:ext cx="8216291" cy="761997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r">
              <a:tabLst>
                <a:tab pos="82550" algn="l"/>
              </a:tabLst>
            </a:pPr>
            <a:r>
              <a:rPr lang="ru-RU" sz="240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осковский государственный технический университет им. Н. Э. Баумана</a:t>
            </a:r>
          </a:p>
          <a:p>
            <a:pPr>
              <a:tabLst>
                <a:tab pos="82550" algn="l"/>
              </a:tabLst>
            </a:pPr>
            <a:endParaRPr lang="ru-RU" sz="300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45633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>
            <a:extLst>
              <a:ext uri="{FF2B5EF4-FFF2-40B4-BE49-F238E27FC236}">
                <a16:creationId xmlns:a16="http://schemas.microsoft.com/office/drawing/2014/main" id="{3C89D553-E9A9-47B2-826E-F5556C931FD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0907" t="29227" b="9493"/>
          <a:stretch/>
        </p:blipFill>
        <p:spPr>
          <a:xfrm>
            <a:off x="264" y="149"/>
            <a:ext cx="7118865" cy="75625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AA5EA5A8-4C96-4589-88CF-33692D4EE7F7}"/>
              </a:ext>
            </a:extLst>
          </p:cNvPr>
          <p:cNvSpPr txBox="1">
            <a:spLocks/>
          </p:cNvSpPr>
          <p:nvPr/>
        </p:nvSpPr>
        <p:spPr>
          <a:xfrm>
            <a:off x="5503117" y="352561"/>
            <a:ext cx="7326097" cy="761967"/>
          </a:xfrm>
          <a:prstGeom prst="rect">
            <a:avLst/>
          </a:prstGeom>
        </p:spPr>
        <p:txBody>
          <a:bodyPr vert="horz" lIns="0" tIns="45718" rIns="91437" bIns="45718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r">
              <a:tabLst>
                <a:tab pos="82544" algn="l"/>
              </a:tabLst>
            </a:pPr>
            <a:r>
              <a:rPr lang="ru-RU" sz="2398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еспублика Удмуртия</a:t>
            </a:r>
          </a:p>
          <a:p>
            <a:pPr>
              <a:tabLst>
                <a:tab pos="82544" algn="l"/>
              </a:tabLst>
            </a:pPr>
            <a:endParaRPr lang="ru-RU" sz="2500" dirty="0">
              <a:solidFill>
                <a:srgbClr val="E7E6E6">
                  <a:lumMod val="1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D37C079-6F67-4987-87D8-8DA1DCBE4BE7}"/>
              </a:ext>
            </a:extLst>
          </p:cNvPr>
          <p:cNvSpPr/>
          <p:nvPr/>
        </p:nvSpPr>
        <p:spPr>
          <a:xfrm>
            <a:off x="469808" y="1168405"/>
            <a:ext cx="5185704" cy="23081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399" b="1" kern="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блема:</a:t>
            </a:r>
          </a:p>
          <a:p>
            <a:r>
              <a:rPr lang="ru-RU" sz="20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Государственные служащие региона использовали разрозненные решения для организации работы электронной почты, календарей, планирования и других средств корпоративной коммуникации</a:t>
            </a:r>
            <a:r>
              <a:rPr lang="en-US" sz="20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  <a:endParaRPr lang="ru-RU" sz="2000" kern="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5CB5BD02-CE54-4058-9D73-6B7D7850350E}"/>
              </a:ext>
            </a:extLst>
          </p:cNvPr>
          <p:cNvSpPr/>
          <p:nvPr/>
        </p:nvSpPr>
        <p:spPr>
          <a:xfrm>
            <a:off x="397919" y="3582207"/>
            <a:ext cx="6721210" cy="387785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399" b="1" kern="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дачи:</a:t>
            </a:r>
          </a:p>
          <a:p>
            <a:r>
              <a:rPr lang="ru-RU" sz="2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оздать единую коммуникационную систему органов государственной власти:</a:t>
            </a:r>
          </a:p>
          <a:p>
            <a:endParaRPr lang="ru-RU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85729" indent="-285729"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рганизовать работу электронной почты и обмен мгновенными сообщениями</a:t>
            </a:r>
          </a:p>
          <a:p>
            <a:pPr marL="285729" indent="-285729"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едоставить  сотрудникам средства коллективной работы </a:t>
            </a:r>
          </a:p>
          <a:p>
            <a:pPr marL="285729" indent="-285729"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беспечить  гарантированную доставку писем</a:t>
            </a:r>
          </a:p>
          <a:p>
            <a:pPr marL="285729" indent="-285729"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оздать систему прозрачного планирования</a:t>
            </a:r>
          </a:p>
          <a:p>
            <a:pPr marL="285729" indent="-285729"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беспечить безопасность посредством сохранения служебной информации внутри контролируемого контура информационного обмена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0EF634AE-4BC9-425A-BB8A-7264576999A3}"/>
              </a:ext>
            </a:extLst>
          </p:cNvPr>
          <p:cNvSpPr/>
          <p:nvPr/>
        </p:nvSpPr>
        <p:spPr>
          <a:xfrm>
            <a:off x="7343751" y="6801870"/>
            <a:ext cx="672121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kern="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чало проекта: 2018г.</a:t>
            </a:r>
            <a:endParaRPr lang="ru-RU" b="1" kern="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E41F9CFE-AE8A-484C-945C-A105FB42902B}"/>
              </a:ext>
            </a:extLst>
          </p:cNvPr>
          <p:cNvGrpSpPr/>
          <p:nvPr/>
        </p:nvGrpSpPr>
        <p:grpSpPr>
          <a:xfrm>
            <a:off x="8686366" y="917688"/>
            <a:ext cx="4288365" cy="5507263"/>
            <a:chOff x="8686443" y="917575"/>
            <a:chExt cx="4288534" cy="5507480"/>
          </a:xfrm>
        </p:grpSpPr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973A0935-F663-450D-A0ED-CC8010F4F6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1064" t="17361" r="67003" b="27833"/>
            <a:stretch/>
          </p:blipFill>
          <p:spPr>
            <a:xfrm>
              <a:off x="8686443" y="917575"/>
              <a:ext cx="3918310" cy="5507480"/>
            </a:xfrm>
            <a:prstGeom prst="rect">
              <a:avLst/>
            </a:prstGeom>
          </p:spPr>
        </p:pic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0FA117FA-DFA1-48B8-8978-27B8507C1E7F}"/>
                </a:ext>
              </a:extLst>
            </p:cNvPr>
            <p:cNvSpPr/>
            <p:nvPr/>
          </p:nvSpPr>
          <p:spPr>
            <a:xfrm>
              <a:off x="12056269" y="1049329"/>
              <a:ext cx="918708" cy="105569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00F4F6F9-70F4-488B-A8E3-9B58506BF420}"/>
                </a:ext>
              </a:extLst>
            </p:cNvPr>
            <p:cNvSpPr/>
            <p:nvPr/>
          </p:nvSpPr>
          <p:spPr>
            <a:xfrm>
              <a:off x="12437269" y="2105025"/>
              <a:ext cx="537708" cy="1676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28C7C0C9-E731-4F18-A6FB-1F6EF4D8667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107" y="276364"/>
            <a:ext cx="2277482" cy="590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69355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3">
            <a:extLst>
              <a:ext uri="{FF2B5EF4-FFF2-40B4-BE49-F238E27FC236}">
                <a16:creationId xmlns:a16="http://schemas.microsoft.com/office/drawing/2014/main" id="{2AFB7CB6-3B8A-4738-ADA8-7DC08AA9E9C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0907" t="29227" b="9493"/>
          <a:stretch/>
        </p:blipFill>
        <p:spPr>
          <a:xfrm>
            <a:off x="266" y="-28423"/>
            <a:ext cx="6722005" cy="75625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5" name="Объект 2">
            <a:extLst>
              <a:ext uri="{FF2B5EF4-FFF2-40B4-BE49-F238E27FC236}">
                <a16:creationId xmlns:a16="http://schemas.microsoft.com/office/drawing/2014/main" id="{D57C05C5-81AC-4E18-8488-99D391680C9D}"/>
              </a:ext>
            </a:extLst>
          </p:cNvPr>
          <p:cNvSpPr txBox="1">
            <a:spLocks/>
          </p:cNvSpPr>
          <p:nvPr/>
        </p:nvSpPr>
        <p:spPr>
          <a:xfrm>
            <a:off x="517121" y="1026621"/>
            <a:ext cx="11449555" cy="6911315"/>
          </a:xfrm>
          <a:prstGeom prst="rect">
            <a:avLst/>
          </a:prstGeom>
        </p:spPr>
        <p:txBody>
          <a:bodyPr vert="horz" lIns="100830" tIns="50415" rIns="100830" bIns="50415" numCol="2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399" b="1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 Light"/>
              </a:rPr>
              <a:t>Социальный эффект:</a:t>
            </a:r>
          </a:p>
          <a:p>
            <a:pPr>
              <a:buClr>
                <a:srgbClr val="FF9300"/>
              </a:buClr>
            </a:pPr>
            <a:r>
              <a:rPr lang="ru-RU" sz="2399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ешение объединило коммуникации сотрудников госорганов региона</a:t>
            </a:r>
          </a:p>
          <a:p>
            <a:pPr>
              <a:buClr>
                <a:srgbClr val="FF9300"/>
              </a:buClr>
            </a:pPr>
            <a:r>
              <a:rPr lang="ru-RU" sz="2399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Увеличилась скорость и результативность исполнения процессов до 30%</a:t>
            </a:r>
          </a:p>
          <a:p>
            <a:pPr>
              <a:buClr>
                <a:srgbClr val="FF9300"/>
              </a:buClr>
            </a:pPr>
            <a:r>
              <a:rPr lang="ru-RU" sz="2399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низились временные затраты на коммуникацию </a:t>
            </a:r>
          </a:p>
          <a:p>
            <a:pPr>
              <a:buClr>
                <a:srgbClr val="FF9300"/>
              </a:buClr>
            </a:pPr>
            <a:r>
              <a:rPr lang="ru-RU" sz="2399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овысились качество работы и уровень надежности и отказоустойчивости</a:t>
            </a:r>
          </a:p>
          <a:p>
            <a:pPr>
              <a:buClr>
                <a:srgbClr val="FF9300"/>
              </a:buClr>
            </a:pPr>
            <a:r>
              <a:rPr lang="ru-RU" sz="2399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овысилась эффективность внутреннего взаимодействия</a:t>
            </a:r>
          </a:p>
          <a:p>
            <a:pPr>
              <a:buClr>
                <a:srgbClr val="FF9300"/>
              </a:buClr>
            </a:pPr>
            <a:r>
              <a:rPr lang="ru-RU" sz="2399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низились риски утечки информации</a:t>
            </a:r>
          </a:p>
          <a:p>
            <a:pPr marL="0" indent="0">
              <a:buNone/>
            </a:pPr>
            <a:endParaRPr lang="ru-RU" sz="2645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F9F8700-C70F-46BE-82D0-829AD18CB000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6941336" y="1026620"/>
            <a:ext cx="6502938" cy="7075210"/>
          </a:xfrm>
          <a:prstGeom prst="rect">
            <a:avLst/>
          </a:prstGeom>
        </p:spPr>
        <p:txBody>
          <a:bodyPr numCol="1">
            <a:normAutofit/>
          </a:bodyPr>
          <a:lstStyle/>
          <a:p>
            <a:pPr marL="0" indent="0">
              <a:buClr>
                <a:srgbClr val="FF0000"/>
              </a:buClr>
              <a:buNone/>
            </a:pPr>
            <a:r>
              <a:rPr lang="ru-RU" sz="2399" b="1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 Light"/>
              </a:rPr>
              <a:t>Экономический эффект:</a:t>
            </a:r>
          </a:p>
          <a:p>
            <a:pPr>
              <a:buClr>
                <a:srgbClr val="FF9300"/>
              </a:buClr>
            </a:pPr>
            <a:r>
              <a:rPr lang="ru-RU" sz="2000" kern="0" dirty="0">
                <a:latin typeface="Verdana" panose="020B0604030504040204" pitchFamily="34" charset="0"/>
                <a:ea typeface="Verdana" panose="020B0604030504040204" pitchFamily="34" charset="0"/>
              </a:rPr>
              <a:t>Сокращение инвестиций в комплексные коммуникационные решения – </a:t>
            </a:r>
            <a:r>
              <a:rPr lang="ru-RU" sz="2000" b="1" kern="0" dirty="0" err="1">
                <a:latin typeface="Verdana" panose="020B0604030504040204" pitchFamily="34" charset="0"/>
                <a:ea typeface="Verdana" panose="020B0604030504040204" pitchFamily="34" charset="0"/>
              </a:rPr>
              <a:t>ок</a:t>
            </a:r>
            <a:r>
              <a:rPr lang="ru-RU" sz="2000" b="1" kern="0" dirty="0">
                <a:latin typeface="Verdana" panose="020B0604030504040204" pitchFamily="34" charset="0"/>
                <a:ea typeface="Verdana" panose="020B0604030504040204" pitchFamily="34" charset="0"/>
              </a:rPr>
              <a:t>. 5 млн. р.</a:t>
            </a:r>
          </a:p>
          <a:p>
            <a:pPr>
              <a:buClr>
                <a:srgbClr val="FF9300"/>
              </a:buClr>
            </a:pPr>
            <a:r>
              <a:rPr lang="ru-RU" sz="2000" kern="0" dirty="0">
                <a:latin typeface="Verdana" panose="020B0604030504040204" pitchFamily="34" charset="0"/>
                <a:ea typeface="Verdana" panose="020B0604030504040204" pitchFamily="34" charset="0"/>
              </a:rPr>
              <a:t>Экономия на оборудовании и технических специалистах – </a:t>
            </a:r>
            <a:r>
              <a:rPr lang="ru-RU" sz="2000" b="1" kern="0" dirty="0" err="1">
                <a:latin typeface="Verdana" panose="020B0604030504040204" pitchFamily="34" charset="0"/>
                <a:ea typeface="Verdana" panose="020B0604030504040204" pitchFamily="34" charset="0"/>
              </a:rPr>
              <a:t>ок</a:t>
            </a:r>
            <a:r>
              <a:rPr lang="ru-RU" sz="2000" b="1" kern="0" dirty="0">
                <a:latin typeface="Verdana" panose="020B0604030504040204" pitchFamily="34" charset="0"/>
                <a:ea typeface="Verdana" panose="020B0604030504040204" pitchFamily="34" charset="0"/>
              </a:rPr>
              <a:t>. 1,8 млн. р.</a:t>
            </a:r>
          </a:p>
          <a:p>
            <a:pPr>
              <a:buClr>
                <a:srgbClr val="FF9300"/>
              </a:buClr>
            </a:pPr>
            <a:r>
              <a:rPr lang="ru-RU" sz="2000" kern="0" dirty="0">
                <a:latin typeface="Verdana" panose="020B0604030504040204" pitchFamily="34" charset="0"/>
                <a:ea typeface="Verdana" panose="020B0604030504040204" pitchFamily="34" charset="0"/>
              </a:rPr>
              <a:t>Отсутствие издержек на дополнительное ПО и оборудование в рамках поддержки функциональности системы – </a:t>
            </a:r>
            <a:r>
              <a:rPr lang="ru-RU" sz="2000" b="1" kern="0" dirty="0" err="1">
                <a:latin typeface="Verdana" panose="020B0604030504040204" pitchFamily="34" charset="0"/>
                <a:ea typeface="Verdana" panose="020B0604030504040204" pitchFamily="34" charset="0"/>
              </a:rPr>
              <a:t>ок</a:t>
            </a:r>
            <a:r>
              <a:rPr lang="ru-RU" sz="2000" b="1" kern="0" dirty="0">
                <a:latin typeface="Verdana" panose="020B0604030504040204" pitchFamily="34" charset="0"/>
                <a:ea typeface="Verdana" panose="020B0604030504040204" pitchFamily="34" charset="0"/>
              </a:rPr>
              <a:t>. 1 млн. р.</a:t>
            </a:r>
          </a:p>
          <a:p>
            <a:pPr marL="0" indent="0">
              <a:buClr>
                <a:srgbClr val="FF0000"/>
              </a:buClr>
              <a:buNone/>
            </a:pPr>
            <a:r>
              <a:rPr lang="ru-RU" sz="2645" b="1" dirty="0">
                <a:latin typeface="Calibri" panose="020F0502020204030204" pitchFamily="34" charset="0"/>
                <a:cs typeface="Calibri" panose="020F0502020204030204" pitchFamily="34" charset="0"/>
              </a:rPr>
              <a:t>Итого экономия около </a:t>
            </a:r>
          </a:p>
          <a:p>
            <a:pPr marL="0" indent="0">
              <a:buClr>
                <a:srgbClr val="FF0000"/>
              </a:buClr>
              <a:buNone/>
            </a:pPr>
            <a:r>
              <a:rPr lang="ru-RU" sz="2645" b="1" dirty="0">
                <a:solidFill>
                  <a:srgbClr val="FF93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 800 000 р. </a:t>
            </a:r>
            <a:r>
              <a:rPr lang="ru-RU" sz="2645" b="1" dirty="0">
                <a:latin typeface="Calibri" panose="020F0502020204030204" pitchFamily="34" charset="0"/>
                <a:cs typeface="Calibri" panose="020F0502020204030204" pitchFamily="34" charset="0"/>
              </a:rPr>
              <a:t>в год</a:t>
            </a:r>
            <a:endParaRPr lang="ru-RU" b="1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40703930-A487-4170-A168-0C515C60806E}"/>
              </a:ext>
            </a:extLst>
          </p:cNvPr>
          <p:cNvSpPr txBox="1">
            <a:spLocks/>
          </p:cNvSpPr>
          <p:nvPr/>
        </p:nvSpPr>
        <p:spPr>
          <a:xfrm>
            <a:off x="6722270" y="-104606"/>
            <a:ext cx="5575958" cy="761937"/>
          </a:xfrm>
          <a:prstGeom prst="rect">
            <a:avLst/>
          </a:prstGeom>
        </p:spPr>
        <p:txBody>
          <a:bodyPr vert="horz" lIns="0" tIns="45716" rIns="91433" bIns="45716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r">
              <a:tabLst>
                <a:tab pos="82538" algn="l"/>
              </a:tabLst>
            </a:pPr>
            <a:endParaRPr lang="ru-RU" sz="2398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E8006B5E-5CF6-4AE6-A7BC-4774AF3ED1D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107" y="276364"/>
            <a:ext cx="2277482" cy="590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6264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B06FF17-2E9C-422E-8F50-C40B8076ADC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r"/>
            <a:r>
              <a:rPr lang="ru-RU" dirty="0">
                <a:solidFill>
                  <a:srgbClr val="FF9300"/>
                </a:solidFill>
              </a:rPr>
              <a:t>Нижегородская область</a:t>
            </a:r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D5231A21-C121-4E44-95F6-6DF8124A8CB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99000"/>
                    </a14:imgEffect>
                    <a14:imgEffect>
                      <a14:brightnessContrast bright="-19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4" y="149"/>
            <a:ext cx="7118865" cy="75625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D09D3BE-8744-4B8E-AB92-4F65C21A3E99}"/>
              </a:ext>
            </a:extLst>
          </p:cNvPr>
          <p:cNvSpPr/>
          <p:nvPr/>
        </p:nvSpPr>
        <p:spPr>
          <a:xfrm>
            <a:off x="455611" y="1168405"/>
            <a:ext cx="6743429" cy="23081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399" b="1" kern="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дачи:</a:t>
            </a:r>
          </a:p>
          <a:p>
            <a:pPr marL="342876" indent="-342876"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sz="20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еобходимо создание единой централизованной коммуникационной системы региона</a:t>
            </a:r>
            <a:endParaRPr lang="en-US" sz="2000" kern="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876" indent="-342876"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sz="20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щита от утечек информации, спама, ложных сообщений о террористических актах, возможность расследования инцидентов</a:t>
            </a:r>
            <a:endParaRPr lang="ru-RU" kern="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5D54859-2478-49DF-8200-E0D1903E16EE}"/>
              </a:ext>
            </a:extLst>
          </p:cNvPr>
          <p:cNvSpPr txBox="1"/>
          <p:nvPr/>
        </p:nvSpPr>
        <p:spPr>
          <a:xfrm>
            <a:off x="455611" y="3429014"/>
            <a:ext cx="6435358" cy="4154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399" b="1" kern="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 проекте:</a:t>
            </a:r>
          </a:p>
          <a:p>
            <a:pPr marL="285729" indent="-285729" fontAlgn="base">
              <a:spcAft>
                <a:spcPts val="600"/>
              </a:spcAft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sz="20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спользуемые сервисы ( в </a:t>
            </a:r>
            <a:r>
              <a:rPr lang="ru-RU" sz="2000" kern="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.в</a:t>
            </a:r>
            <a:r>
              <a:rPr lang="ru-RU" sz="20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на 1 тысячу пользователей): электронная почта, обмен мгновенными сообщениями и средствами коллективной работы, электронные календари, задачи, заметки</a:t>
            </a:r>
          </a:p>
          <a:p>
            <a:pPr marL="285729" indent="-285729" fontAlgn="base">
              <a:spcAft>
                <a:spcPts val="600"/>
              </a:spcAft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sz="20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нтивирус, антиспам плагины + встроенные механизмы </a:t>
            </a:r>
            <a:r>
              <a:rPr lang="ru-RU" sz="2000" kern="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иберзащиты</a:t>
            </a:r>
            <a:endParaRPr lang="ru-RU" sz="2000" kern="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29" indent="-285729"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sz="20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нтеграция с Р7 и внутренней системой аутентификации</a:t>
            </a:r>
          </a:p>
          <a:p>
            <a:pPr marL="285729" indent="-285729">
              <a:buClr>
                <a:srgbClr val="FF9300"/>
              </a:buClr>
              <a:buFont typeface="Arial" panose="020B0604020202020204" pitchFamily="34" charset="0"/>
              <a:buChar char="•"/>
            </a:pPr>
            <a:endParaRPr lang="ru-RU" sz="1000" kern="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buClr>
                <a:srgbClr val="FF9300"/>
              </a:buClr>
            </a:pPr>
            <a:endParaRPr lang="ru-RU" sz="2000" b="1" kern="0" dirty="0">
              <a:solidFill>
                <a:srgbClr val="C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ru-RU" sz="2000" dirty="0">
              <a:solidFill>
                <a:schemeClr val="bg1"/>
              </a:solidFill>
              <a:latin typeface="Open Sans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C35EFFD-8EAB-4BF4-97A7-E381AFA5C334}"/>
              </a:ext>
            </a:extLst>
          </p:cNvPr>
          <p:cNvSpPr/>
          <p:nvPr/>
        </p:nvSpPr>
        <p:spPr>
          <a:xfrm>
            <a:off x="7318155" y="6789649"/>
            <a:ext cx="672121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kern="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чало проекта: 2020г.</a:t>
            </a:r>
            <a:endParaRPr lang="ru-RU" kern="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0C52412-1210-4717-B275-9987565BD83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68642" y="1230114"/>
            <a:ext cx="5177074" cy="5559535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D3218507-A043-4189-B3D8-21A0EC0CB45C}"/>
              </a:ext>
            </a:extLst>
          </p:cNvPr>
          <p:cNvSpPr/>
          <p:nvPr/>
        </p:nvSpPr>
        <p:spPr>
          <a:xfrm>
            <a:off x="11979862" y="3429014"/>
            <a:ext cx="1219152" cy="33606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4F7734DB-FDEF-4F17-A9B2-7CB471A2C4E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107" y="276364"/>
            <a:ext cx="2277482" cy="590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281038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>
            <a:extLst>
              <a:ext uri="{FF2B5EF4-FFF2-40B4-BE49-F238E27FC236}">
                <a16:creationId xmlns:a16="http://schemas.microsoft.com/office/drawing/2014/main" id="{A00A800C-870D-4E71-BAC2-4E918F76BBB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99000"/>
                    </a14:imgEffect>
                    <a14:imgEffect>
                      <a14:brightnessContrast bright="-19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4" y="149"/>
            <a:ext cx="7118865" cy="75625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1D762E1-12AB-47E2-80A9-AD2A430C8CD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r"/>
            <a:r>
              <a:rPr lang="ru-RU" dirty="0">
                <a:solidFill>
                  <a:srgbClr val="FF9300"/>
                </a:solidFill>
              </a:rPr>
              <a:t>Волгоградская область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D247BF1D-5B77-4116-9773-40895A884ECA}"/>
              </a:ext>
            </a:extLst>
          </p:cNvPr>
          <p:cNvSpPr/>
          <p:nvPr/>
        </p:nvSpPr>
        <p:spPr>
          <a:xfrm>
            <a:off x="441531" y="1190727"/>
            <a:ext cx="6743429" cy="1692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399" b="1" kern="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дачи:</a:t>
            </a:r>
          </a:p>
          <a:p>
            <a:pPr marL="342876" indent="-342876"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sz="20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йти альтернативу </a:t>
            </a:r>
            <a:r>
              <a:rPr lang="en-US" sz="20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icrosoft Exchange Server </a:t>
            </a:r>
            <a:r>
              <a:rPr lang="ru-RU" sz="20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 рамках программы импортозамещения</a:t>
            </a:r>
            <a:endParaRPr lang="en-US" sz="2000" kern="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876" indent="-342876"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sz="2000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беспечить безопасность коммуникаций региона</a:t>
            </a:r>
            <a:endParaRPr lang="ru-RU" kern="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4F28231-1EC8-41C2-9981-B759E7C88BA1}"/>
              </a:ext>
            </a:extLst>
          </p:cNvPr>
          <p:cNvSpPr txBox="1"/>
          <p:nvPr/>
        </p:nvSpPr>
        <p:spPr>
          <a:xfrm>
            <a:off x="441531" y="3095653"/>
            <a:ext cx="6518060" cy="4154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399" b="1" kern="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сновные критерии выбора:</a:t>
            </a:r>
            <a:endParaRPr lang="ru-RU" sz="2000" dirty="0">
              <a:solidFill>
                <a:schemeClr val="bg1"/>
              </a:solidFill>
              <a:latin typeface="Open Sans"/>
            </a:endParaRPr>
          </a:p>
          <a:p>
            <a:pPr marL="342876" indent="-342876"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олная замена существующей системы</a:t>
            </a:r>
          </a:p>
          <a:p>
            <a:pPr marL="342876" indent="-342876"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беспечение безопасности коммуникаций, в т.ч. защита от фишинга и спама</a:t>
            </a:r>
          </a:p>
          <a:p>
            <a:pPr marL="342876" indent="-342876"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alt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облюдение требований политики импортозамещения </a:t>
            </a:r>
          </a:p>
          <a:p>
            <a:pPr marL="342876" indent="-342876"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лавный переход с существующей системой (параллельная работа с </a:t>
            </a: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S Exchange)</a:t>
            </a:r>
            <a:endParaRPr lang="ru-RU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42876" indent="-342876"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нтеграция с </a:t>
            </a: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S AD</a:t>
            </a:r>
          </a:p>
          <a:p>
            <a:pPr>
              <a:buClr>
                <a:srgbClr val="FF9300"/>
              </a:buClr>
            </a:pPr>
            <a:endParaRPr lang="en-US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buClr>
                <a:srgbClr val="FF9300"/>
              </a:buClr>
            </a:pPr>
            <a:endParaRPr lang="ru-RU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buClr>
                <a:srgbClr val="FF9300"/>
              </a:buClr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ыбор был сделан по итогам проведенного анализа существующих на рынке систем</a:t>
            </a: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  <a:endParaRPr lang="ru-RU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FA9D362B-1D0D-431C-9B4C-EAD196620651}"/>
              </a:ext>
            </a:extLst>
          </p:cNvPr>
          <p:cNvSpPr/>
          <p:nvPr/>
        </p:nvSpPr>
        <p:spPr>
          <a:xfrm>
            <a:off x="7318155" y="6789649"/>
            <a:ext cx="672121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kern="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чало проекта: 2021г.</a:t>
            </a:r>
            <a:endParaRPr lang="ru-RU" kern="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22CF1EF-DECA-4047-8386-DB516336233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51615" y="1266924"/>
            <a:ext cx="5574863" cy="4609982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AE5A06D-5460-4FA6-80E7-A8CD10F3B35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107" y="276364"/>
            <a:ext cx="2277482" cy="590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9149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04" name="Слайд think-cell" r:id="rId6" imgW="416" imgH="416" progId="TCLayout.ActiveDocument.1">
                  <p:embed/>
                </p:oleObj>
              </mc:Choice>
              <mc:Fallback>
                <p:oleObj name="Слайд think-cell" r:id="rId6" imgW="416" imgH="416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05" name="Слайд think-cell" r:id="rId8" imgW="416" imgH="416" progId="TCLayout.ActiveDocument.1">
                  <p:embed/>
                </p:oleObj>
              </mc:Choice>
              <mc:Fallback>
                <p:oleObj name="Слайд think-cell" r:id="rId8" imgW="416" imgH="416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20DB6E88-AAF9-3A4F-A3D6-8497ADF1D0B2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885070" cy="7562850"/>
          </a:xfrm>
          <a:prstGeom prst="rect">
            <a:avLst/>
          </a:prstGeom>
        </p:spPr>
      </p:pic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362B5FC9-850C-1841-811B-AA5ECD1AE86D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32269" y="6409306"/>
            <a:ext cx="2588401" cy="801119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E90E652B-135C-E34A-8D90-8E4DE720E476}"/>
              </a:ext>
            </a:extLst>
          </p:cNvPr>
          <p:cNvSpPr txBox="1">
            <a:spLocks/>
          </p:cNvSpPr>
          <p:nvPr/>
        </p:nvSpPr>
        <p:spPr>
          <a:xfrm>
            <a:off x="563657" y="6448425"/>
            <a:ext cx="9372600" cy="435134"/>
          </a:xfrm>
          <a:prstGeom prst="rect">
            <a:avLst/>
          </a:prstGeom>
          <a:noFill/>
        </p:spPr>
        <p:txBody>
          <a:bodyPr vert="horz" lIns="0" tIns="45720" rIns="91440" bIns="45720" rtlCol="0" anchor="b">
            <a:normAutofit fontScale="97500"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616" b="1" i="0" kern="1200">
                <a:solidFill>
                  <a:schemeClr val="bg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r>
              <a:rPr lang="en-US" sz="1400" b="0" dirty="0" err="1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munigate.ru</a:t>
            </a:r>
            <a:endParaRPr lang="ru-RU" sz="1400" b="0" dirty="0">
              <a:solidFill>
                <a:srgbClr val="FF93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DA59DAA2-27A8-5D46-B46B-9E97A26C866D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3088" y="6450586"/>
            <a:ext cx="2765125" cy="607439"/>
          </a:xfrm>
          <a:prstGeom prst="rect">
            <a:avLst/>
          </a:prstGeom>
        </p:spPr>
      </p:pic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032F7787-AD84-004D-AF24-7CEA2780200C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22269" y="6372225"/>
            <a:ext cx="3041638" cy="786841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502CDB8B-A663-4858-B250-087B1379AA31}"/>
              </a:ext>
            </a:extLst>
          </p:cNvPr>
          <p:cNvSpPr txBox="1">
            <a:spLocks/>
          </p:cNvSpPr>
          <p:nvPr/>
        </p:nvSpPr>
        <p:spPr>
          <a:xfrm>
            <a:off x="129110" y="2868564"/>
            <a:ext cx="7767115" cy="1446261"/>
          </a:xfrm>
          <a:prstGeom prst="rect">
            <a:avLst/>
          </a:prstGeom>
        </p:spPr>
        <p:txBody>
          <a:bodyPr anchor="t">
            <a:normAutofit fontScale="82500" lnSpcReduction="10000"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sz="53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пасибо за внимание</a:t>
            </a:r>
            <a:r>
              <a:rPr lang="ru-RU" sz="5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ru-RU" sz="5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ru-RU" sz="5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29735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1">
            <a:extLst>
              <a:ext uri="{FF2B5EF4-FFF2-40B4-BE49-F238E27FC236}">
                <a16:creationId xmlns:a16="http://schemas.microsoft.com/office/drawing/2014/main" id="{49368A0E-56C7-4FEA-9FCF-14E8302AAE7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2000" y="265886"/>
            <a:ext cx="2286000" cy="59136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C00EA32-BFE7-40B4-9164-9C58998CBDA3}"/>
              </a:ext>
            </a:extLst>
          </p:cNvPr>
          <p:cNvSpPr txBox="1">
            <a:spLocks/>
          </p:cNvSpPr>
          <p:nvPr/>
        </p:nvSpPr>
        <p:spPr>
          <a:xfrm>
            <a:off x="567532" y="3324225"/>
            <a:ext cx="4664868" cy="761997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>
              <a:tabLst>
                <a:tab pos="82550" algn="l"/>
              </a:tabLst>
            </a:pPr>
            <a:r>
              <a:rPr lang="ru-RU" sz="300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се корпоративные коммуникации </a:t>
            </a:r>
          </a:p>
          <a:p>
            <a:pPr>
              <a:tabLst>
                <a:tab pos="82550" algn="l"/>
              </a:tabLst>
            </a:pPr>
            <a:r>
              <a:rPr lang="ru-RU" sz="300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«одном окне»</a:t>
            </a: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BA2377B1-D9A0-4E2C-BB09-DFEEC5B3AC1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6225" y="1362526"/>
            <a:ext cx="7239000" cy="5816046"/>
          </a:xfrm>
          <a:prstGeom prst="rect">
            <a:avLst/>
          </a:prstGeom>
        </p:spPr>
      </p:pic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0630AF0F-30FB-4A11-90F3-16045831DF3F}"/>
              </a:ext>
            </a:extLst>
          </p:cNvPr>
          <p:cNvSpPr/>
          <p:nvPr/>
        </p:nvSpPr>
        <p:spPr>
          <a:xfrm>
            <a:off x="5122069" y="1266825"/>
            <a:ext cx="8000206" cy="6172200"/>
          </a:xfrm>
          <a:prstGeom prst="roundRect">
            <a:avLst/>
          </a:prstGeom>
          <a:noFill/>
          <a:ln w="57150">
            <a:solidFill>
              <a:srgbClr val="FF9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B79EC97E-6988-490E-9E7D-3C3B48181298}"/>
              </a:ext>
            </a:extLst>
          </p:cNvPr>
          <p:cNvSpPr txBox="1">
            <a:spLocks/>
          </p:cNvSpPr>
          <p:nvPr/>
        </p:nvSpPr>
        <p:spPr>
          <a:xfrm>
            <a:off x="5809962" y="384278"/>
            <a:ext cx="7075341" cy="730353"/>
          </a:xfrm>
          <a:prstGeom prst="rect">
            <a:avLst/>
          </a:prstGeom>
        </p:spPr>
        <p:txBody>
          <a:bodyPr vert="horz" lIns="0" tIns="45718" rIns="91437" bIns="45718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r">
              <a:tabLst>
                <a:tab pos="82544" algn="l"/>
              </a:tabLst>
            </a:pPr>
            <a:r>
              <a:rPr lang="ru-RU" sz="240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ше решение</a:t>
            </a:r>
            <a:endParaRPr lang="ru-RU" sz="240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09343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B3672B26-E466-4962-BC85-292487FE2666}"/>
              </a:ext>
            </a:extLst>
          </p:cNvPr>
          <p:cNvSpPr/>
          <p:nvPr/>
        </p:nvSpPr>
        <p:spPr>
          <a:xfrm>
            <a:off x="1540965" y="1810025"/>
            <a:ext cx="5703864" cy="56477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9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россплатформенность</a:t>
            </a:r>
            <a:endParaRPr lang="ru-RU" sz="19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ru-RU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шение доступно на всех основных типах платформ</a:t>
            </a:r>
          </a:p>
          <a:p>
            <a:endParaRPr lang="ru-RU" sz="19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ru-RU" sz="19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даптивность</a:t>
            </a:r>
            <a:endParaRPr lang="ru-RU" sz="19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ru-RU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нтеграция с большинством инфраструктурных решений</a:t>
            </a:r>
          </a:p>
          <a:p>
            <a:endParaRPr lang="ru-RU" sz="19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ru-RU" sz="19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сштабирование</a:t>
            </a:r>
            <a:endParaRPr lang="ru-RU" sz="19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ru-RU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 25 до миллионов пользователей в больших кластерных системах </a:t>
            </a:r>
          </a:p>
          <a:p>
            <a:endParaRPr lang="ru-RU" sz="19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ru-RU" sz="19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казоустойчивость</a:t>
            </a:r>
            <a:endParaRPr lang="ru-RU" sz="19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ru-RU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ческие кластеры для масштабирования без остановки сервисов</a:t>
            </a:r>
          </a:p>
          <a:p>
            <a:endParaRPr lang="ru-RU" sz="1900" b="1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ru-RU" sz="19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инансовая эффективность</a:t>
            </a:r>
            <a:endParaRPr lang="ru-RU" sz="19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ru-RU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 2 раз выгоднее решений других вендоров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A9FEA319-3ECE-4F29-A04B-7D9D834295FC}"/>
              </a:ext>
            </a:extLst>
          </p:cNvPr>
          <p:cNvSpPr/>
          <p:nvPr/>
        </p:nvSpPr>
        <p:spPr>
          <a:xfrm>
            <a:off x="8805669" y="1810027"/>
            <a:ext cx="3999274" cy="56607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9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зопасность</a:t>
            </a:r>
          </a:p>
          <a:p>
            <a:r>
              <a:rPr lang="ru-RU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истема  спроектирована для эффективной работы в открытых сетях. </a:t>
            </a:r>
            <a:r>
              <a:rPr lang="en-US" sz="1900" kern="0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беспечивает</a:t>
            </a:r>
            <a:r>
              <a:rPr lang="en-US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1900" kern="0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зопасность</a:t>
            </a:r>
            <a:r>
              <a:rPr lang="en-US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1900" kern="0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</a:t>
            </a:r>
            <a:r>
              <a:rPr lang="en-US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1900" kern="0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етевом</a:t>
            </a:r>
            <a:r>
              <a:rPr lang="en-US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и </a:t>
            </a:r>
            <a:r>
              <a:rPr lang="en-US" sz="1900" kern="0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лиентском</a:t>
            </a:r>
            <a:r>
              <a:rPr lang="en-US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1900" kern="0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ровнях</a:t>
            </a:r>
            <a:endParaRPr lang="ru-RU" sz="19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endParaRPr lang="ru-RU" sz="19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ru-RU" sz="1900" b="1" kern="0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оприетарность</a:t>
            </a:r>
            <a:r>
              <a:rPr lang="ru-RU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ru-RU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бственный программный код, написанный «с нуля»</a:t>
            </a:r>
          </a:p>
          <a:p>
            <a:endParaRPr lang="ru-RU" sz="19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endParaRPr lang="ru-RU" sz="19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ru-RU" sz="19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мпортозамещение</a:t>
            </a:r>
            <a:r>
              <a:rPr lang="ru-RU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ru-RU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 внесено в реестр Минкомсвязи и сертифицировано ФСТЭК России</a:t>
            </a:r>
          </a:p>
          <a:p>
            <a:endParaRPr lang="ru-RU" sz="1985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DFF98C3B-3797-405F-B1ED-2C39F10B56A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528" y="5334121"/>
            <a:ext cx="961600" cy="96160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83ACF145-BC7D-4404-AE9E-73698CABEE9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825" y="4286970"/>
            <a:ext cx="826867" cy="826867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4DA4B21D-8B76-497F-B46A-5A3E7E7B1C3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19" t="11924" r="18000" b="11922"/>
          <a:stretch/>
        </p:blipFill>
        <p:spPr>
          <a:xfrm>
            <a:off x="122573" y="3081846"/>
            <a:ext cx="1225058" cy="847782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07CD4C18-E2F9-4791-B8AC-2B3D9BAB19A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138" y="1790446"/>
            <a:ext cx="969751" cy="969751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A2F72ADC-E33C-4C11-A5A2-07DEB114499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937" y="6407454"/>
            <a:ext cx="940437" cy="940437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F8BB2CB3-C659-439B-ABF2-001F31F5AD6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10" r="24667"/>
          <a:stretch/>
        </p:blipFill>
        <p:spPr>
          <a:xfrm>
            <a:off x="7660055" y="1898971"/>
            <a:ext cx="845150" cy="978752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66B6A7EB-E55D-4074-9F18-3325E632F95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1747" y="4011666"/>
            <a:ext cx="840249" cy="840249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0931CB45-3634-4357-9B54-33A35DC8923E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66" r="10827" b="11864"/>
          <a:stretch/>
        </p:blipFill>
        <p:spPr>
          <a:xfrm>
            <a:off x="7634034" y="5374923"/>
            <a:ext cx="1171635" cy="1173688"/>
          </a:xfrm>
          <a:prstGeom prst="rect">
            <a:avLst/>
          </a:prstGeom>
        </p:spPr>
      </p:pic>
      <p:pic>
        <p:nvPicPr>
          <p:cNvPr id="20" name="Picture 31">
            <a:extLst>
              <a:ext uri="{FF2B5EF4-FFF2-40B4-BE49-F238E27FC236}">
                <a16:creationId xmlns:a16="http://schemas.microsoft.com/office/drawing/2014/main" id="{72E4643D-553B-4279-805C-019E06C0E53B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2000" y="265886"/>
            <a:ext cx="2286000" cy="591365"/>
          </a:xfrm>
          <a:prstGeom prst="rect">
            <a:avLst/>
          </a:prstGeom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05EE4EDD-5E0D-4A24-A82F-55715ADBE5BC}"/>
              </a:ext>
            </a:extLst>
          </p:cNvPr>
          <p:cNvSpPr txBox="1">
            <a:spLocks/>
          </p:cNvSpPr>
          <p:nvPr/>
        </p:nvSpPr>
        <p:spPr>
          <a:xfrm>
            <a:off x="5809962" y="384278"/>
            <a:ext cx="7075341" cy="730353"/>
          </a:xfrm>
          <a:prstGeom prst="rect">
            <a:avLst/>
          </a:prstGeom>
        </p:spPr>
        <p:txBody>
          <a:bodyPr vert="horz" lIns="0" tIns="45718" rIns="91437" bIns="45718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r">
              <a:tabLst>
                <a:tab pos="82544" algn="l"/>
              </a:tabLst>
            </a:pPr>
            <a:r>
              <a:rPr lang="ru-RU" sz="240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еимущества</a:t>
            </a:r>
            <a:endParaRPr lang="ru-RU" sz="240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01156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87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96D23948-C5E1-B64A-9D82-20C96EE12BD6}"/>
              </a:ext>
            </a:extLst>
          </p:cNvPr>
          <p:cNvSpPr/>
          <p:nvPr/>
        </p:nvSpPr>
        <p:spPr>
          <a:xfrm>
            <a:off x="181102" y="733528"/>
            <a:ext cx="140367" cy="1403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BFE078A2-9962-3F46-9FD3-12AE3CAA678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2000" y="265886"/>
            <a:ext cx="2286000" cy="591365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E71C8CFC-2223-0B43-A0AE-918040467CC5}"/>
              </a:ext>
            </a:extLst>
          </p:cNvPr>
          <p:cNvSpPr txBox="1">
            <a:spLocks/>
          </p:cNvSpPr>
          <p:nvPr/>
        </p:nvSpPr>
        <p:spPr>
          <a:xfrm>
            <a:off x="5882284" y="322380"/>
            <a:ext cx="7379876" cy="761997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r">
              <a:tabLst>
                <a:tab pos="82550" algn="l"/>
              </a:tabLst>
            </a:pPr>
            <a:r>
              <a:rPr lang="ru-RU" sz="240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Какие продукты каких </a:t>
            </a:r>
            <a:r>
              <a:rPr lang="ru-RU" sz="2400" dirty="0" err="1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ендоров</a:t>
            </a:r>
            <a:r>
              <a:rPr lang="ru-RU" sz="240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замещает CommuniGate Pro </a:t>
            </a:r>
          </a:p>
          <a:p>
            <a:pPr algn="r">
              <a:tabLst>
                <a:tab pos="82550" algn="l"/>
              </a:tabLst>
            </a:pPr>
            <a:endParaRPr lang="ru-RU" sz="240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61122" name="Picture 2" descr="https://www.makeoverarena.com/wp-content/uploads/2019/12/Untitled-2-2-218x150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4230" y="2498065"/>
            <a:ext cx="2851658" cy="196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1124" name="Picture 4" descr="https://api.syncpenguin.com/images/exchange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2366" y="777223"/>
            <a:ext cx="3124200" cy="3124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1128" name="Picture 8" descr="https://timestech.in/wp-content/uploads/2019/03/IceWarp-218x150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62255" y="2502698"/>
            <a:ext cx="2533269" cy="174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1132" name="Picture 12" descr="https://www.gub.uy/centro-nacional-respuesta-incidentes-seguridad-informatica/sites/centro-nacional-respuesta-incidentes-seguridad-informatica/files/styles/200x120/public/imagenes/noticias/zimbra.png?itok=zsQ4tgSe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8020" y="5006988"/>
            <a:ext cx="4114286" cy="2468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1136" name="Picture 16" descr="https://besthard.ru/faq/wp-content/uploads/2018/08/010-390x205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62215" y="1828800"/>
            <a:ext cx="3714750" cy="1952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1138" name="Picture 18" descr="http://2.bp.blogspot.com/-85V9cIB-xR0/TyjAS-4aFpI/AAAAAAAAEtA/1IVqoy4SofU/s320/Zentyal-logo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26254" y="4635282"/>
            <a:ext cx="2926080" cy="2926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222344" y="2320723"/>
            <a:ext cx="64432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/>
              <a:t>+</a:t>
            </a:r>
            <a:endParaRPr lang="ru-RU" sz="60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1022364" y="4907399"/>
            <a:ext cx="294947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b="1" dirty="0" err="1"/>
              <a:t>Opensource</a:t>
            </a:r>
            <a:endParaRPr lang="ru-RU" sz="3000" b="1" dirty="0"/>
          </a:p>
        </p:txBody>
      </p:sp>
      <p:pic>
        <p:nvPicPr>
          <p:cNvPr id="261140" name="Picture 20" descr="https://www.alternatifle.com/wp-content/uploads/2020/02/5e37962fc45ef.png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7623" y="4676722"/>
            <a:ext cx="3124636" cy="3124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1142" name="Picture 22" descr="https://storage.yvision.kz/images/publication/covers/2d/2d215b5f1e62dcf8322b51138d689e01_310_150.jp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02261" y="5461397"/>
            <a:ext cx="2952750" cy="142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1130" name="Picture 10" descr="https://3.bp.blogspot.com/-IsUyAeq5J5Y/VDr8GdBR6oI/AAAAAAAAAQ8/otsAwZy1tIw/s1600/mdaemon.pn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2259" y="1872711"/>
            <a:ext cx="3246120" cy="788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3094" name="Picture 38" descr="Переосмыслите отношение к HCL Domino">
            <a:extLst>
              <a:ext uri="{FF2B5EF4-FFF2-40B4-BE49-F238E27FC236}">
                <a16:creationId xmlns:a16="http://schemas.microsoft.com/office/drawing/2014/main" id="{ED1A5417-41B2-4F95-BA92-AEBA9611BA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513" b="23352"/>
          <a:stretch/>
        </p:blipFill>
        <p:spPr bwMode="auto">
          <a:xfrm>
            <a:off x="4197623" y="1756577"/>
            <a:ext cx="2456470" cy="2552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90943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AF1F2BDE-3F27-4101-B80E-7664DE8A0211}"/>
              </a:ext>
            </a:extLst>
          </p:cNvPr>
          <p:cNvSpPr/>
          <p:nvPr/>
        </p:nvSpPr>
        <p:spPr>
          <a:xfrm>
            <a:off x="7562553" y="2110791"/>
            <a:ext cx="5592771" cy="2622956"/>
          </a:xfrm>
          <a:prstGeom prst="rect">
            <a:avLst/>
          </a:prstGeom>
          <a:solidFill>
            <a:srgbClr val="0205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 dirty="0">
              <a:highlight>
                <a:srgbClr val="00A3E0"/>
              </a:highlight>
            </a:endParaRPr>
          </a:p>
        </p:txBody>
      </p:sp>
      <p:sp>
        <p:nvSpPr>
          <p:cNvPr id="12" name="object 15">
            <a:extLst>
              <a:ext uri="{FF2B5EF4-FFF2-40B4-BE49-F238E27FC236}">
                <a16:creationId xmlns:a16="http://schemas.microsoft.com/office/drawing/2014/main" id="{1D57EF6E-E564-45DD-8F41-F016A07136BA}"/>
              </a:ext>
            </a:extLst>
          </p:cNvPr>
          <p:cNvSpPr txBox="1">
            <a:spLocks/>
          </p:cNvSpPr>
          <p:nvPr/>
        </p:nvSpPr>
        <p:spPr>
          <a:xfrm>
            <a:off x="618397" y="2151515"/>
            <a:ext cx="6567227" cy="2868135"/>
          </a:xfrm>
          <a:prstGeom prst="rect">
            <a:avLst/>
          </a:prstGeom>
        </p:spPr>
        <p:txBody>
          <a:bodyPr vert="horz" wrap="square" lIns="0" tIns="16806" rIns="0" bIns="0" numCol="1" spcCol="54000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pPr marL="378089" indent="-378089">
              <a:lnSpc>
                <a:spcPct val="120000"/>
              </a:lnSpc>
              <a:spcAft>
                <a:spcPts val="662"/>
              </a:spcAft>
              <a:buFont typeface="Arial" panose="020B0604020202020204" pitchFamily="34" charset="0"/>
              <a:buChar char="•"/>
            </a:pPr>
            <a:r>
              <a:rPr lang="ru-RU" sz="19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играция по стандартным протоколам </a:t>
            </a:r>
            <a:r>
              <a:rPr lang="ru-RU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</a:t>
            </a:r>
            <a:r>
              <a:rPr lang="en-US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MAP, </a:t>
            </a:r>
            <a:r>
              <a:rPr lang="en-US" sz="1900" kern="0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alDAV</a:t>
            </a:r>
            <a:r>
              <a:rPr lang="en-US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en-US" sz="1900" kern="0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ardDav</a:t>
            </a:r>
            <a:r>
              <a:rPr lang="en-US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 др.)</a:t>
            </a:r>
            <a:endParaRPr lang="en-US" sz="19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378089" indent="-378089">
              <a:lnSpc>
                <a:spcPct val="120000"/>
              </a:lnSpc>
              <a:spcAft>
                <a:spcPts val="662"/>
              </a:spcAft>
              <a:buFont typeface="Arial" panose="020B0604020202020204" pitchFamily="34" charset="0"/>
              <a:buChar char="•"/>
            </a:pPr>
            <a:r>
              <a:rPr lang="ru-RU" altLang="en-US" sz="19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играция через файловую систему </a:t>
            </a:r>
            <a:r>
              <a:rPr lang="ru-RU" altLang="en-US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в случае совпадения форматов почтовых ящиков: </a:t>
            </a:r>
            <a:r>
              <a:rPr lang="en-US" sz="1900" kern="0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box</a:t>
            </a:r>
            <a:r>
              <a:rPr lang="en-US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 </a:t>
            </a:r>
            <a:r>
              <a:rPr lang="en-US" sz="1900" kern="0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aildir</a:t>
            </a:r>
            <a:r>
              <a:rPr lang="ru-RU" altLang="en-US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</a:p>
          <a:p>
            <a:pPr marL="378089" indent="-378089">
              <a:lnSpc>
                <a:spcPct val="120000"/>
              </a:lnSpc>
              <a:spcAft>
                <a:spcPts val="662"/>
              </a:spcAft>
              <a:buFont typeface="Arial" panose="020B0604020202020204" pitchFamily="34" charset="0"/>
              <a:buChar char="•"/>
            </a:pPr>
            <a:r>
              <a:rPr lang="ru-RU" sz="19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зовая утилита миграции по </a:t>
            </a:r>
            <a:r>
              <a:rPr lang="en-US" sz="19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API</a:t>
            </a:r>
            <a:endParaRPr lang="en-US" altLang="en-US" sz="19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378089" indent="-378089">
              <a:lnSpc>
                <a:spcPct val="120000"/>
              </a:lnSpc>
              <a:spcAft>
                <a:spcPts val="662"/>
              </a:spcAft>
              <a:buFont typeface="Arial" panose="020B0604020202020204" pitchFamily="34" charset="0"/>
              <a:buChar char="•"/>
            </a:pPr>
            <a:endParaRPr lang="ru-RU" altLang="en-US" sz="2316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object 15">
            <a:extLst>
              <a:ext uri="{FF2B5EF4-FFF2-40B4-BE49-F238E27FC236}">
                <a16:creationId xmlns:a16="http://schemas.microsoft.com/office/drawing/2014/main" id="{25991344-50D0-42CF-9405-90852CCF9111}"/>
              </a:ext>
            </a:extLst>
          </p:cNvPr>
          <p:cNvSpPr txBox="1">
            <a:spLocks/>
          </p:cNvSpPr>
          <p:nvPr/>
        </p:nvSpPr>
        <p:spPr>
          <a:xfrm>
            <a:off x="7807919" y="2218672"/>
            <a:ext cx="5102039" cy="2174740"/>
          </a:xfrm>
          <a:prstGeom prst="rect">
            <a:avLst/>
          </a:prstGeom>
        </p:spPr>
        <p:txBody>
          <a:bodyPr vert="horz" wrap="square" lIns="0" tIns="16806" rIns="0" bIns="0" numCol="1" spcCol="54000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pPr>
              <a:lnSpc>
                <a:spcPct val="120000"/>
              </a:lnSpc>
              <a:spcAft>
                <a:spcPts val="662"/>
              </a:spcAft>
            </a:pPr>
            <a:r>
              <a:rPr lang="ru-RU" sz="1900" b="1" kern="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инимум </a:t>
            </a:r>
            <a:r>
              <a:rPr lang="ru-RU" altLang="en-US" sz="1900" b="1" kern="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ополнительного оборудования:</a:t>
            </a:r>
          </a:p>
          <a:p>
            <a:pPr>
              <a:lnSpc>
                <a:spcPct val="120000"/>
              </a:lnSpc>
              <a:spcAft>
                <a:spcPts val="662"/>
              </a:spcAft>
            </a:pPr>
            <a:r>
              <a:rPr lang="ru-RU" altLang="en-US" sz="1900" kern="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ля выполнения стандартной миграции необходимо 2 Ядра и 4 Гб. оперативной памяти + СХД (по объему данных </a:t>
            </a:r>
            <a:r>
              <a:rPr lang="ru-RU" altLang="en-US" sz="1900" kern="0" dirty="0" err="1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игрируемых</a:t>
            </a:r>
            <a:r>
              <a:rPr lang="ru-RU" altLang="en-US" sz="1900" kern="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пользователей)</a:t>
            </a:r>
            <a:endParaRPr lang="en-US" altLang="en-US" sz="1900" kern="0" dirty="0"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bject 15">
            <a:extLst>
              <a:ext uri="{FF2B5EF4-FFF2-40B4-BE49-F238E27FC236}">
                <a16:creationId xmlns:a16="http://schemas.microsoft.com/office/drawing/2014/main" id="{57031F71-69B1-4D1C-9EB2-D2D24D38D32F}"/>
              </a:ext>
            </a:extLst>
          </p:cNvPr>
          <p:cNvSpPr txBox="1">
            <a:spLocks/>
          </p:cNvSpPr>
          <p:nvPr/>
        </p:nvSpPr>
        <p:spPr>
          <a:xfrm>
            <a:off x="618397" y="5524831"/>
            <a:ext cx="13861865" cy="1312068"/>
          </a:xfrm>
          <a:prstGeom prst="rect">
            <a:avLst/>
          </a:prstGeom>
        </p:spPr>
        <p:txBody>
          <a:bodyPr vert="horz" wrap="square" lIns="0" tIns="16806" rIns="0" bIns="0" numCol="1" spcCol="54000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pPr>
              <a:lnSpc>
                <a:spcPct val="120000"/>
              </a:lnSpc>
              <a:spcAft>
                <a:spcPts val="662"/>
              </a:spcAft>
            </a:pPr>
            <a:r>
              <a:rPr lang="ru-RU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роки миграции зависят от :</a:t>
            </a:r>
          </a:p>
          <a:p>
            <a:pPr marL="378089" indent="-378089">
              <a:lnSpc>
                <a:spcPct val="120000"/>
              </a:lnSpc>
              <a:spcAft>
                <a:spcPts val="662"/>
              </a:spcAft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altLang="en-US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бъема данных</a:t>
            </a:r>
          </a:p>
          <a:p>
            <a:pPr>
              <a:lnSpc>
                <a:spcPct val="120000"/>
              </a:lnSpc>
              <a:spcAft>
                <a:spcPts val="662"/>
              </a:spcAft>
            </a:pPr>
            <a:endParaRPr lang="ru-RU" altLang="en-US" sz="2316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object 15">
            <a:extLst>
              <a:ext uri="{FF2B5EF4-FFF2-40B4-BE49-F238E27FC236}">
                <a16:creationId xmlns:a16="http://schemas.microsoft.com/office/drawing/2014/main" id="{4FF7DBE6-859B-47A0-A9F0-59B2A475A842}"/>
              </a:ext>
            </a:extLst>
          </p:cNvPr>
          <p:cNvSpPr txBox="1">
            <a:spLocks/>
          </p:cNvSpPr>
          <p:nvPr/>
        </p:nvSpPr>
        <p:spPr>
          <a:xfrm>
            <a:off x="4341812" y="5940755"/>
            <a:ext cx="2886883" cy="330646"/>
          </a:xfrm>
          <a:prstGeom prst="rect">
            <a:avLst/>
          </a:prstGeom>
        </p:spPr>
        <p:txBody>
          <a:bodyPr vert="horz" wrap="square" lIns="0" tIns="16806" rIns="0" bIns="0" numCol="1" spcCol="54000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pPr marL="378089" indent="-378089">
              <a:lnSpc>
                <a:spcPct val="120000"/>
              </a:lnSpc>
              <a:spcAft>
                <a:spcPts val="662"/>
              </a:spcAft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altLang="en-US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ипа миграции </a:t>
            </a:r>
          </a:p>
        </p:txBody>
      </p:sp>
      <p:sp>
        <p:nvSpPr>
          <p:cNvPr id="16" name="object 15">
            <a:extLst>
              <a:ext uri="{FF2B5EF4-FFF2-40B4-BE49-F238E27FC236}">
                <a16:creationId xmlns:a16="http://schemas.microsoft.com/office/drawing/2014/main" id="{5C4EAB29-43B8-4749-9F40-1172CE3CF3E4}"/>
              </a:ext>
            </a:extLst>
          </p:cNvPr>
          <p:cNvSpPr txBox="1">
            <a:spLocks/>
          </p:cNvSpPr>
          <p:nvPr/>
        </p:nvSpPr>
        <p:spPr>
          <a:xfrm>
            <a:off x="7695248" y="5926578"/>
            <a:ext cx="5519096" cy="330646"/>
          </a:xfrm>
          <a:prstGeom prst="rect">
            <a:avLst/>
          </a:prstGeom>
        </p:spPr>
        <p:txBody>
          <a:bodyPr vert="horz" wrap="square" lIns="0" tIns="16806" rIns="0" bIns="0" numCol="1" spcCol="54000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pPr marL="378089" indent="-378089">
              <a:lnSpc>
                <a:spcPct val="120000"/>
              </a:lnSpc>
              <a:spcAft>
                <a:spcPts val="662"/>
              </a:spcAft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altLang="en-US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озможности мигрировать в </a:t>
            </a:r>
            <a:r>
              <a:rPr lang="en-US" altLang="en-US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n-</a:t>
            </a:r>
            <a:r>
              <a:rPr lang="ru-RU" altLang="en-US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токов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030D6282-9C6E-4EA6-BC11-5755E68A4DA7}"/>
              </a:ext>
            </a:extLst>
          </p:cNvPr>
          <p:cNvSpPr/>
          <p:nvPr/>
        </p:nvSpPr>
        <p:spPr>
          <a:xfrm>
            <a:off x="409315" y="4978801"/>
            <a:ext cx="12805029" cy="3978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985" b="1" kern="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озможность совместного существования двух почтовых серверов </a:t>
            </a:r>
            <a:r>
              <a:rPr lang="en-US" sz="1985" b="1" kern="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GP </a:t>
            </a:r>
            <a:r>
              <a:rPr lang="ru-RU" sz="1985" b="1" kern="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– </a:t>
            </a:r>
            <a:r>
              <a:rPr lang="en-US" sz="1985" b="1" kern="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change</a:t>
            </a:r>
            <a:r>
              <a:rPr lang="ru-RU" sz="1985" b="1" kern="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</a:t>
            </a:r>
          </a:p>
        </p:txBody>
      </p:sp>
      <p:sp>
        <p:nvSpPr>
          <p:cNvPr id="20" name="Rectangle 4">
            <a:extLst>
              <a:ext uri="{FF2B5EF4-FFF2-40B4-BE49-F238E27FC236}">
                <a16:creationId xmlns:a16="http://schemas.microsoft.com/office/drawing/2014/main" id="{7A8A6981-9DFA-48F1-9646-16265E750B8C}"/>
              </a:ext>
            </a:extLst>
          </p:cNvPr>
          <p:cNvSpPr/>
          <p:nvPr/>
        </p:nvSpPr>
        <p:spPr>
          <a:xfrm>
            <a:off x="514600" y="6923945"/>
            <a:ext cx="8252360" cy="4994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23" dirty="0">
                <a:solidFill>
                  <a:srgbClr val="02050A"/>
                </a:solidFill>
              </a:rPr>
              <a:t>* </a:t>
            </a:r>
            <a:r>
              <a:rPr lang="en-US" sz="1323" dirty="0">
                <a:solidFill>
                  <a:srgbClr val="02050A"/>
                </a:solidFill>
              </a:rPr>
              <a:t>ME </a:t>
            </a:r>
            <a:r>
              <a:rPr lang="ru-RU" sz="1323" dirty="0">
                <a:solidFill>
                  <a:srgbClr val="02050A"/>
                </a:solidFill>
              </a:rPr>
              <a:t>2003, 2007 ограничивает функционал </a:t>
            </a:r>
            <a:r>
              <a:rPr lang="en-US" sz="1323" dirty="0">
                <a:solidFill>
                  <a:srgbClr val="02050A"/>
                </a:solidFill>
              </a:rPr>
              <a:t>CGP </a:t>
            </a:r>
            <a:r>
              <a:rPr lang="ru-RU" sz="1323" dirty="0">
                <a:solidFill>
                  <a:srgbClr val="02050A"/>
                </a:solidFill>
              </a:rPr>
              <a:t>в виду неразвитой системы правил перенаправления почты</a:t>
            </a:r>
          </a:p>
          <a:p>
            <a:endParaRPr lang="ru-RU" sz="1323" dirty="0"/>
          </a:p>
        </p:txBody>
      </p:sp>
      <p:pic>
        <p:nvPicPr>
          <p:cNvPr id="18" name="Picture 31">
            <a:extLst>
              <a:ext uri="{FF2B5EF4-FFF2-40B4-BE49-F238E27FC236}">
                <a16:creationId xmlns:a16="http://schemas.microsoft.com/office/drawing/2014/main" id="{834D269F-9389-4998-8CD0-59F0ABAEE47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2000" y="265886"/>
            <a:ext cx="2286000" cy="591365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2F77923E-C5FA-4363-A337-8CEA72C3A891}"/>
              </a:ext>
            </a:extLst>
          </p:cNvPr>
          <p:cNvSpPr txBox="1">
            <a:spLocks/>
          </p:cNvSpPr>
          <p:nvPr/>
        </p:nvSpPr>
        <p:spPr>
          <a:xfrm>
            <a:off x="4082312" y="322380"/>
            <a:ext cx="9179848" cy="761997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r">
              <a:tabLst>
                <a:tab pos="82550" algn="l"/>
              </a:tabLst>
            </a:pPr>
            <a:r>
              <a:rPr lang="ru-RU" sz="240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ипы миграции</a:t>
            </a:r>
          </a:p>
          <a:p>
            <a:pPr algn="r">
              <a:tabLst>
                <a:tab pos="82550" algn="l"/>
              </a:tabLst>
            </a:pPr>
            <a:endParaRPr lang="ru-RU" sz="2400" dirty="0">
              <a:solidFill>
                <a:srgbClr val="FF93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r">
              <a:tabLst>
                <a:tab pos="82550" algn="l"/>
              </a:tabLst>
            </a:pPr>
            <a:endParaRPr lang="ru-RU" sz="300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88369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15">
            <a:extLst>
              <a:ext uri="{FF2B5EF4-FFF2-40B4-BE49-F238E27FC236}">
                <a16:creationId xmlns:a16="http://schemas.microsoft.com/office/drawing/2014/main" id="{07B23B32-6D4C-7E49-A39C-4182A8394A36}"/>
              </a:ext>
            </a:extLst>
          </p:cNvPr>
          <p:cNvSpPr txBox="1">
            <a:spLocks/>
          </p:cNvSpPr>
          <p:nvPr/>
        </p:nvSpPr>
        <p:spPr>
          <a:xfrm>
            <a:off x="562545" y="1709038"/>
            <a:ext cx="4723023" cy="5709255"/>
          </a:xfrm>
          <a:prstGeom prst="rect">
            <a:avLst/>
          </a:prstGeom>
        </p:spPr>
        <p:txBody>
          <a:bodyPr vert="horz" wrap="square" lIns="0" tIns="15240" rIns="0" bIns="0" numCol="1" spcCol="54000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pPr marL="15875">
              <a:spcBef>
                <a:spcPts val="600"/>
              </a:spcBef>
              <a:spcAft>
                <a:spcPts val="600"/>
              </a:spcAft>
            </a:pPr>
            <a:r>
              <a:rPr lang="en-US" sz="18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nux</a:t>
            </a:r>
          </a:p>
          <a:p>
            <a:pPr marL="15875">
              <a:spcBef>
                <a:spcPts val="600"/>
              </a:spcBef>
              <a:spcAft>
                <a:spcPts val="600"/>
              </a:spcAft>
            </a:pPr>
            <a:r>
              <a:rPr lang="en-US" sz="1800" b="1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stra Linux, </a:t>
            </a:r>
            <a:r>
              <a:rPr lang="en-US" sz="1800" b="1" kern="0" dirty="0" err="1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seALT</a:t>
            </a:r>
            <a:r>
              <a:rPr lang="en-US" sz="1800" b="1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800" b="1" kern="0" dirty="0" err="1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dOS</a:t>
            </a:r>
            <a:r>
              <a:rPr lang="ru-RU" sz="1800" b="1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800" b="1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OSA</a:t>
            </a:r>
            <a:r>
              <a:rPr lang="ru-RU" sz="1800" b="1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800" b="1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brus OS</a:t>
            </a:r>
            <a:r>
              <a:rPr lang="ru-RU" sz="1800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</a:t>
            </a:r>
            <a:r>
              <a:rPr lang="ru-RU" sz="1800" b="1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СОН Основа,</a:t>
            </a:r>
            <a:r>
              <a:rPr lang="en-US" sz="1800" b="1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00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bian, Ubuntu, Red Hat, CentOS, Fedora,</a:t>
            </a:r>
            <a:r>
              <a:rPr lang="ru-RU" sz="1800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и </a:t>
            </a:r>
            <a:r>
              <a:rPr lang="ru-RU" sz="1800" kern="0" dirty="0" err="1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р</a:t>
            </a:r>
            <a:r>
              <a:rPr lang="en-US" sz="1800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lang="ru-RU" sz="1800" kern="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5875">
              <a:spcBef>
                <a:spcPts val="600"/>
              </a:spcBef>
              <a:spcAft>
                <a:spcPts val="600"/>
              </a:spcAft>
            </a:pPr>
            <a:endParaRPr lang="ru-RU" sz="1800" b="1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5875">
              <a:spcBef>
                <a:spcPts val="600"/>
              </a:spcBef>
              <a:spcAft>
                <a:spcPts val="600"/>
              </a:spcAft>
            </a:pPr>
            <a:endParaRPr lang="ru-RU" sz="1800" b="1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5875"/>
            <a:r>
              <a:rPr lang="en-US" altLang="en-US" sz="18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VM</a:t>
            </a:r>
            <a:r>
              <a:rPr lang="ru-RU" altLang="en-US" sz="18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</a:t>
            </a:r>
            <a:r>
              <a:rPr lang="en-US" altLang="en-US" sz="18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EN),</a:t>
            </a:r>
            <a:r>
              <a:rPr lang="ru-RU" altLang="en-US" sz="18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-платформа</a:t>
            </a:r>
            <a:r>
              <a:rPr lang="en-US" altLang="en-US" sz="18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HOSTVM</a:t>
            </a:r>
            <a:r>
              <a:rPr lang="ru-RU" altLang="en-US" sz="18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</a:t>
            </a:r>
            <a:r>
              <a:rPr lang="en-US" altLang="en-US" sz="18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ru-RU" altLang="en-US" sz="1800" b="1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5875"/>
            <a:r>
              <a:rPr lang="en-US" altLang="en-US" sz="18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yper-</a:t>
            </a:r>
            <a:r>
              <a:rPr lang="en-US" altLang="en-US" sz="1800" b="1" kern="0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,VMware</a:t>
            </a:r>
            <a:r>
              <a:rPr lang="en-US" altLang="en-US" sz="18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ru-RU" altLang="en-US" sz="18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 др.</a:t>
            </a:r>
            <a:endParaRPr lang="ru-RU" altLang="en-US" sz="18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5875">
              <a:spcBef>
                <a:spcPts val="600"/>
              </a:spcBef>
              <a:spcAft>
                <a:spcPts val="600"/>
              </a:spcAft>
            </a:pPr>
            <a:endParaRPr lang="ru-RU" sz="1800" b="1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5875">
              <a:spcBef>
                <a:spcPts val="600"/>
              </a:spcBef>
              <a:spcAft>
                <a:spcPts val="600"/>
              </a:spcAft>
            </a:pPr>
            <a:endParaRPr lang="ru-RU" sz="1800" b="1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5875">
              <a:spcBef>
                <a:spcPts val="600"/>
              </a:spcBef>
              <a:spcAft>
                <a:spcPts val="600"/>
              </a:spcAft>
            </a:pPr>
            <a:r>
              <a:rPr lang="en-US" sz="18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eeBSD</a:t>
            </a:r>
          </a:p>
          <a:p>
            <a:pPr marL="15875">
              <a:spcBef>
                <a:spcPts val="600"/>
              </a:spcBef>
              <a:spcAft>
                <a:spcPts val="600"/>
              </a:spcAft>
            </a:pPr>
            <a:r>
              <a:rPr lang="en-US" sz="18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n Solaris</a:t>
            </a:r>
          </a:p>
          <a:p>
            <a:pPr marL="15875">
              <a:spcBef>
                <a:spcPts val="600"/>
              </a:spcBef>
              <a:spcAft>
                <a:spcPts val="600"/>
              </a:spcAft>
            </a:pPr>
            <a:r>
              <a:rPr lang="en-US" sz="18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pple Mac OS</a:t>
            </a:r>
            <a:endParaRPr lang="ru-RU" sz="1800" b="1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5875">
              <a:spcBef>
                <a:spcPts val="600"/>
              </a:spcBef>
              <a:spcAft>
                <a:spcPts val="600"/>
              </a:spcAft>
            </a:pPr>
            <a:r>
              <a:rPr lang="en-US" sz="18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indows Server</a:t>
            </a:r>
            <a:endParaRPr lang="ru-RU" sz="1800" b="1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5875">
              <a:spcBef>
                <a:spcPts val="600"/>
              </a:spcBef>
              <a:spcAft>
                <a:spcPts val="600"/>
              </a:spcAft>
            </a:pPr>
            <a:endParaRPr lang="ru-RU" altLang="en-US" sz="1800" b="1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6D23948-C5E1-B64A-9D82-20C96EE12BD6}"/>
              </a:ext>
            </a:extLst>
          </p:cNvPr>
          <p:cNvSpPr/>
          <p:nvPr/>
        </p:nvSpPr>
        <p:spPr>
          <a:xfrm>
            <a:off x="181102" y="733528"/>
            <a:ext cx="140367" cy="1403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BFE078A2-9962-3F46-9FD3-12AE3CAA678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2000" y="265886"/>
            <a:ext cx="2286000" cy="591365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36730130-15E1-EB41-912E-1CF483E2553B}"/>
              </a:ext>
            </a:extLst>
          </p:cNvPr>
          <p:cNvGrpSpPr/>
          <p:nvPr/>
        </p:nvGrpSpPr>
        <p:grpSpPr>
          <a:xfrm>
            <a:off x="6228185" y="1652532"/>
            <a:ext cx="6732009" cy="5190184"/>
            <a:chOff x="6578500" y="1525168"/>
            <a:chExt cx="6732009" cy="5190184"/>
          </a:xfrm>
        </p:grpSpPr>
        <p:pic>
          <p:nvPicPr>
            <p:cNvPr id="12" name="Picture 2" descr="https://4.bp.blogspot.com/-u9NkJG-uIRo/WRPeSgyILXI/AAAAAAAAALw/b2B0MjW6_W8D7_-RksM7xCvnjIVjdnIKACK4B/s320/debian.gif">
              <a:extLst>
                <a:ext uri="{FF2B5EF4-FFF2-40B4-BE49-F238E27FC236}">
                  <a16:creationId xmlns:a16="http://schemas.microsoft.com/office/drawing/2014/main" id="{38F3D1C4-C910-D447-8311-2A5E0384D8A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35053" y="3798972"/>
              <a:ext cx="1532811" cy="5042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4" descr="https://upload-images.jianshu.io/upload_images/1775943-31d200d346f7fc81.png?imageMogr2/auto-orient/strip|imageView2/1/w/300/h/240">
              <a:extLst>
                <a:ext uri="{FF2B5EF4-FFF2-40B4-BE49-F238E27FC236}">
                  <a16:creationId xmlns:a16="http://schemas.microsoft.com/office/drawing/2014/main" id="{FCBB5C19-8CDF-7F49-A910-E793EA9698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704409" y="3348654"/>
              <a:ext cx="1606100" cy="12030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6" descr="https://gallery.dpcdn.pl/imgd/UGC/15360/g_-_-x-_-_s_x20130407195107_0.png">
              <a:extLst>
                <a:ext uri="{FF2B5EF4-FFF2-40B4-BE49-F238E27FC236}">
                  <a16:creationId xmlns:a16="http://schemas.microsoft.com/office/drawing/2014/main" id="{B00696AC-35E2-5F4A-8089-982C92D5495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23669" y="4884018"/>
              <a:ext cx="1981200" cy="5042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8" descr="https://upload.wikimedia.org/wikipedia/commons/thumb/b/bf/Centos-logo-light.svg/320px-Centos-logo-light.svg.png">
              <a:extLst>
                <a:ext uri="{FF2B5EF4-FFF2-40B4-BE49-F238E27FC236}">
                  <a16:creationId xmlns:a16="http://schemas.microsoft.com/office/drawing/2014/main" id="{12967F5A-D1DD-424F-A989-A385E15105C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504239" y="4837874"/>
              <a:ext cx="1659412" cy="6825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14" descr="https://store.softline.ru/uploads/resizer/aHR0cDovL2NhcnQuc29mdGxpbmUucnUvcGljdHVyZXMvbm9kZXMvMTMvY2MvNjUvYWYvY2QvN2QvYjEvM2QvMmIvb3JpZ2luLnBuZw==/origin.png">
              <a:extLst>
                <a:ext uri="{FF2B5EF4-FFF2-40B4-BE49-F238E27FC236}">
                  <a16:creationId xmlns:a16="http://schemas.microsoft.com/office/drawing/2014/main" id="{BAAE25BE-0C96-8542-BE81-AA43FA419DC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2344" y="1597206"/>
              <a:ext cx="1387361" cy="5568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16" descr="http://vtorrente.pp.ua/_ld/55/5545.png">
              <a:extLst>
                <a:ext uri="{FF2B5EF4-FFF2-40B4-BE49-F238E27FC236}">
                  <a16:creationId xmlns:a16="http://schemas.microsoft.com/office/drawing/2014/main" id="{F44E1EE6-90B7-C545-977A-61D0FEE5212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03504" y="1525168"/>
              <a:ext cx="1018012" cy="7191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18" descr="https://oss-it.ru/wp-content/uploads/2016/09/Logo_ROSA.jpg">
              <a:extLst>
                <a:ext uri="{FF2B5EF4-FFF2-40B4-BE49-F238E27FC236}">
                  <a16:creationId xmlns:a16="http://schemas.microsoft.com/office/drawing/2014/main" id="{76241438-FCA3-1E42-835C-AB4F01F4CD4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514754" y="1718077"/>
              <a:ext cx="1721213" cy="5042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20" descr="https://upload.wikimedia.org/wikipedia/en/thumb/d/da/MCST_company_logo.png/220px-MCST_company_logo.png">
              <a:extLst>
                <a:ext uri="{FF2B5EF4-FFF2-40B4-BE49-F238E27FC236}">
                  <a16:creationId xmlns:a16="http://schemas.microsoft.com/office/drawing/2014/main" id="{C1C000BD-4129-8B48-AAF3-19FB5097041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85411" y="2536863"/>
              <a:ext cx="1536363" cy="5100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32" descr="http://shore-tec.com/images/Windows-Server-Logo.png">
              <a:extLst>
                <a:ext uri="{FF2B5EF4-FFF2-40B4-BE49-F238E27FC236}">
                  <a16:creationId xmlns:a16="http://schemas.microsoft.com/office/drawing/2014/main" id="{9B6AF01B-0781-A846-8290-51E712D294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78500" y="5751152"/>
              <a:ext cx="1659412" cy="964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0" name="Title 1">
            <a:extLst>
              <a:ext uri="{FF2B5EF4-FFF2-40B4-BE49-F238E27FC236}">
                <a16:creationId xmlns:a16="http://schemas.microsoft.com/office/drawing/2014/main" id="{39CF24E9-50B9-4946-9EF3-7B31BC23F854}"/>
              </a:ext>
            </a:extLst>
          </p:cNvPr>
          <p:cNvSpPr txBox="1">
            <a:spLocks/>
          </p:cNvSpPr>
          <p:nvPr/>
        </p:nvSpPr>
        <p:spPr>
          <a:xfrm>
            <a:off x="4295775" y="384278"/>
            <a:ext cx="8589529" cy="730353"/>
          </a:xfrm>
          <a:prstGeom prst="rect">
            <a:avLst/>
          </a:prstGeom>
        </p:spPr>
        <p:txBody>
          <a:bodyPr vert="horz" lIns="0" tIns="45718" rIns="91437" bIns="45718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r">
              <a:tabLst>
                <a:tab pos="82550" algn="l"/>
              </a:tabLst>
            </a:pPr>
            <a:r>
              <a:rPr lang="ru-RU" sz="240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ддержка </a:t>
            </a:r>
            <a:r>
              <a:rPr lang="en-US" sz="240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S</a:t>
            </a:r>
            <a:r>
              <a:rPr lang="ru-RU" sz="240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и виртуальных сред</a:t>
            </a:r>
          </a:p>
        </p:txBody>
      </p:sp>
      <p:pic>
        <p:nvPicPr>
          <p:cNvPr id="198658" name="Picture 2" descr="ОС Astra Linux Special Edition, ОС Astra Linux Common Edition, система  виртуализации «Брест» - Connect-WIT">
            <a:extLst>
              <a:ext uri="{FF2B5EF4-FFF2-40B4-BE49-F238E27FC236}">
                <a16:creationId xmlns:a16="http://schemas.microsoft.com/office/drawing/2014/main" id="{C115C6F5-8177-480B-8B3D-D064DD3B83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9223" y="1563827"/>
            <a:ext cx="1938505" cy="892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" descr="Логотип Fedora / Операционные системы / TopLogos.ru">
            <a:extLst>
              <a:ext uri="{FF2B5EF4-FFF2-40B4-BE49-F238E27FC236}">
                <a16:creationId xmlns:a16="http://schemas.microsoft.com/office/drawing/2014/main" id="{3A821503-2282-43FB-8AFB-D671F729D8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0011" y="5016376"/>
            <a:ext cx="1659412" cy="504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4" descr="Oracle Solaris">
            <a:extLst>
              <a:ext uri="{FF2B5EF4-FFF2-40B4-BE49-F238E27FC236}">
                <a16:creationId xmlns:a16="http://schemas.microsoft.com/office/drawing/2014/main" id="{6E77AFF5-4D8D-472D-B134-CFD345B07D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1787" y="5841942"/>
            <a:ext cx="1536363" cy="753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0" descr="https://static.wikia.nocookie.net/logopedia/images/2/21/MacOS_wordmark_%282017%29.svg/revision/latest/scale-to-width-down/512?cb=20180926061551">
            <a:extLst>
              <a:ext uri="{FF2B5EF4-FFF2-40B4-BE49-F238E27FC236}">
                <a16:creationId xmlns:a16="http://schemas.microsoft.com/office/drawing/2014/main" id="{ED04AE6F-014F-4644-B444-8354C019C8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14267" y="6191153"/>
            <a:ext cx="1238717" cy="338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5586" name="Picture 2" descr="Байкал Электроникс (Baikal Electronics)">
            <a:extLst>
              <a:ext uri="{FF2B5EF4-FFF2-40B4-BE49-F238E27FC236}">
                <a16:creationId xmlns:a16="http://schemas.microsoft.com/office/drawing/2014/main" id="{879A79D8-041D-4CA3-9319-34B84EFAF9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474" y="2275353"/>
            <a:ext cx="2276312" cy="1327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Рисунок 17">
            <a:extLst>
              <a:ext uri="{FF2B5EF4-FFF2-40B4-BE49-F238E27FC236}">
                <a16:creationId xmlns:a16="http://schemas.microsoft.com/office/drawing/2014/main" id="{350F566E-D12B-4754-9D8B-27364F17FF8A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1429" y="2633804"/>
            <a:ext cx="1387362" cy="730353"/>
          </a:xfrm>
          <a:prstGeom prst="rect">
            <a:avLst/>
          </a:prstGeom>
        </p:spPr>
      </p:pic>
      <p:pic>
        <p:nvPicPr>
          <p:cNvPr id="25" name="Picture 2" descr="http://www.communigate.com/ru/graphics/logo/rosplatform_127x62.png">
            <a:extLst>
              <a:ext uri="{FF2B5EF4-FFF2-40B4-BE49-F238E27FC236}">
                <a16:creationId xmlns:a16="http://schemas.microsoft.com/office/drawing/2014/main" id="{EB851FE0-6B98-4BA4-9A72-B7932A75C8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34862" y="3790072"/>
            <a:ext cx="1421502" cy="802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8" descr="Операционная система общего назначения (ОСОН) &amp;quot;ОСнова&amp;quot;">
            <a:extLst>
              <a:ext uri="{FF2B5EF4-FFF2-40B4-BE49-F238E27FC236}">
                <a16:creationId xmlns:a16="http://schemas.microsoft.com/office/drawing/2014/main" id="{2DBC86F9-0408-46C6-8039-0747DD3979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6054" y="2596666"/>
            <a:ext cx="800417" cy="761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E4002C1-1EEB-4D9B-B430-678274E3F2F6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7719423" y="3486987"/>
            <a:ext cx="1720835" cy="1307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7342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15">
            <a:extLst>
              <a:ext uri="{FF2B5EF4-FFF2-40B4-BE49-F238E27FC236}">
                <a16:creationId xmlns:a16="http://schemas.microsoft.com/office/drawing/2014/main" id="{EA603611-09D2-47DC-8AED-A65B815EAA31}"/>
              </a:ext>
            </a:extLst>
          </p:cNvPr>
          <p:cNvSpPr txBox="1">
            <a:spLocks/>
          </p:cNvSpPr>
          <p:nvPr/>
        </p:nvSpPr>
        <p:spPr>
          <a:xfrm>
            <a:off x="679096" y="1956046"/>
            <a:ext cx="6637365" cy="4670039"/>
          </a:xfrm>
          <a:prstGeom prst="rect">
            <a:avLst/>
          </a:prstGeom>
        </p:spPr>
        <p:txBody>
          <a:bodyPr vert="horz" wrap="square" lIns="0" tIns="16806" rIns="0" bIns="0" numCol="1" spcCol="54000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pPr>
              <a:spcAft>
                <a:spcPts val="1323"/>
              </a:spcAft>
            </a:pPr>
            <a:r>
              <a:rPr lang="en-US" sz="19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amoware </a:t>
            </a:r>
            <a:r>
              <a:rPr lang="en-US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– </a:t>
            </a:r>
            <a:r>
              <a:rPr lang="ru-RU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ниверсальный десктоп</a:t>
            </a:r>
            <a:r>
              <a:rPr lang="en-US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/</a:t>
            </a:r>
            <a:r>
              <a:rPr lang="ru-RU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еб-клиент</a:t>
            </a:r>
          </a:p>
          <a:p>
            <a:pPr>
              <a:spcAft>
                <a:spcPts val="331"/>
              </a:spcAft>
            </a:pPr>
            <a:r>
              <a:rPr lang="en-US" sz="19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Windows</a:t>
            </a:r>
            <a:endParaRPr lang="ru-RU" sz="19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7505" lvl="1"/>
            <a:r>
              <a:rPr lang="en-US" sz="1900" b="1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utlook</a:t>
            </a:r>
            <a:r>
              <a:rPr lang="ru-RU" sz="1900" b="1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*</a:t>
            </a:r>
          </a:p>
          <a:p>
            <a:pPr marL="17505" lvl="1">
              <a:spcAft>
                <a:spcPts val="1323"/>
              </a:spcAft>
            </a:pPr>
            <a:r>
              <a:rPr lang="en-US" sz="1900" b="1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hunderbird</a:t>
            </a:r>
            <a:r>
              <a:rPr lang="ru-RU" sz="1900" b="1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</a:t>
            </a:r>
            <a:r>
              <a:rPr lang="en-US" sz="1900" b="1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he Bat</a:t>
            </a:r>
            <a:r>
              <a:rPr lang="ru-RU" sz="1900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и другие </a:t>
            </a:r>
            <a:r>
              <a:rPr lang="en-US" sz="1900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MAP </a:t>
            </a:r>
            <a:r>
              <a:rPr lang="ru-RU" sz="1900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лиенты</a:t>
            </a:r>
            <a:endParaRPr lang="en-US" sz="1900" kern="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>
              <a:spcAft>
                <a:spcPts val="331"/>
              </a:spcAft>
            </a:pPr>
            <a:r>
              <a:rPr lang="en-US" sz="19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pple </a:t>
            </a:r>
            <a:r>
              <a:rPr lang="en-US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AC OS X </a:t>
            </a:r>
            <a:r>
              <a:rPr lang="ru-RU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</a:t>
            </a:r>
            <a:r>
              <a:rPr lang="ru-RU" sz="19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19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Linux</a:t>
            </a:r>
            <a:endParaRPr lang="en-US" sz="19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7505" lvl="1" indent="-17505"/>
            <a:r>
              <a:rPr lang="en-US" sz="1900" b="1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hunderbird</a:t>
            </a:r>
            <a:endParaRPr lang="ru-RU" sz="1900" b="1" kern="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7505" lvl="1" indent="-17505">
              <a:spcAft>
                <a:spcPts val="1323"/>
              </a:spcAft>
            </a:pPr>
            <a:r>
              <a:rPr lang="en-US" sz="1900" b="1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pple Mail</a:t>
            </a:r>
          </a:p>
          <a:p>
            <a:pPr>
              <a:spcAft>
                <a:spcPts val="331"/>
              </a:spcAft>
            </a:pPr>
            <a:r>
              <a:rPr lang="en-US" sz="19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OS</a:t>
            </a:r>
            <a:r>
              <a:rPr lang="en-US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 </a:t>
            </a:r>
            <a:r>
              <a:rPr lang="en-US" sz="19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ndroid</a:t>
            </a:r>
            <a:endParaRPr lang="ru-RU" sz="19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7505" lvl="1">
              <a:spcAft>
                <a:spcPts val="1323"/>
              </a:spcAft>
            </a:pPr>
            <a:r>
              <a:rPr lang="ru-RU" sz="1900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чтовые клиенты</a:t>
            </a:r>
            <a:r>
              <a:rPr lang="en-US" sz="1900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 протоколу </a:t>
            </a:r>
            <a:r>
              <a:rPr lang="en-US" sz="1900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ctiveSync </a:t>
            </a:r>
            <a:endParaRPr lang="ru-RU" sz="1900" kern="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>
              <a:spcAft>
                <a:spcPts val="331"/>
              </a:spcAft>
            </a:pPr>
            <a:r>
              <a:rPr lang="en-US" sz="19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MPP</a:t>
            </a:r>
            <a:r>
              <a:rPr lang="ru-RU" sz="19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</a:t>
            </a:r>
            <a:r>
              <a:rPr lang="en-US" sz="19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Jabber</a:t>
            </a:r>
            <a:r>
              <a:rPr lang="ru-RU" sz="19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  <a:endParaRPr lang="en-US" sz="1900" b="1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7505">
              <a:spcAft>
                <a:spcPts val="1323"/>
              </a:spcAft>
            </a:pPr>
            <a:r>
              <a:rPr lang="ru-RU" sz="1900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ссенджеры</a:t>
            </a:r>
            <a:endParaRPr lang="en-US" sz="1900" kern="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>
              <a:spcAft>
                <a:spcPts val="1323"/>
              </a:spcAft>
            </a:pPr>
            <a:r>
              <a:rPr lang="en-US" sz="19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IP-</a:t>
            </a:r>
            <a:r>
              <a:rPr lang="ru-RU" sz="19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лиенты</a:t>
            </a:r>
            <a:endParaRPr lang="ru-RU" altLang="en-US" sz="19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2E7A8194-7D23-47FD-B0F6-8181C92785EF}"/>
              </a:ext>
            </a:extLst>
          </p:cNvPr>
          <p:cNvGrpSpPr/>
          <p:nvPr/>
        </p:nvGrpSpPr>
        <p:grpSpPr>
          <a:xfrm>
            <a:off x="7667369" y="1731675"/>
            <a:ext cx="4852857" cy="5058636"/>
            <a:chOff x="7572474" y="1979386"/>
            <a:chExt cx="5027252" cy="5240426"/>
          </a:xfrm>
        </p:grpSpPr>
        <p:pic>
          <p:nvPicPr>
            <p:cNvPr id="11" name="Picture 8" descr="http://bridman.ru/wp-content/uploads/2017/01/iCloud-organayzer-2.png">
              <a:extLst>
                <a:ext uri="{FF2B5EF4-FFF2-40B4-BE49-F238E27FC236}">
                  <a16:creationId xmlns:a16="http://schemas.microsoft.com/office/drawing/2014/main" id="{9CC4B55B-F2BA-40A6-928B-48ED1D62FA3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8211001" y="6357389"/>
              <a:ext cx="1655929" cy="6443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36" descr="https://retro.diera.ru/diera/images/library/e-mail/02.jpg">
              <a:extLst>
                <a:ext uri="{FF2B5EF4-FFF2-40B4-BE49-F238E27FC236}">
                  <a16:creationId xmlns:a16="http://schemas.microsoft.com/office/drawing/2014/main" id="{3D62160A-C3E1-49C1-93BE-2B96DD4376B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0261472" y="3417870"/>
              <a:ext cx="1445418" cy="10572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4" descr="http://www.atechnologysite.com/wp-content/uploads/2018/04/three-free-email-client-apps-150x150.jpg">
              <a:extLst>
                <a:ext uri="{FF2B5EF4-FFF2-40B4-BE49-F238E27FC236}">
                  <a16:creationId xmlns:a16="http://schemas.microsoft.com/office/drawing/2014/main" id="{75097E5C-A64F-46B4-892F-E9551271E4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0848975" y="6097603"/>
              <a:ext cx="1122209" cy="11222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Рисунок 14">
              <a:extLst>
                <a:ext uri="{FF2B5EF4-FFF2-40B4-BE49-F238E27FC236}">
                  <a16:creationId xmlns:a16="http://schemas.microsoft.com/office/drawing/2014/main" id="{71052AA2-51DD-4EC6-BD34-427BC60C5D8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98332" y="4912000"/>
              <a:ext cx="1476000" cy="846954"/>
            </a:xfrm>
            <a:prstGeom prst="rect">
              <a:avLst/>
            </a:prstGeom>
          </p:spPr>
        </p:pic>
        <p:pic>
          <p:nvPicPr>
            <p:cNvPr id="15" name="Рисунок 4">
              <a:extLst>
                <a:ext uri="{FF2B5EF4-FFF2-40B4-BE49-F238E27FC236}">
                  <a16:creationId xmlns:a16="http://schemas.microsoft.com/office/drawing/2014/main" id="{2CDF6E8A-9A32-46DD-A4AE-5C899E98A45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261472" y="4850913"/>
              <a:ext cx="1974476" cy="741587"/>
            </a:xfrm>
            <a:prstGeom prst="rect">
              <a:avLst/>
            </a:prstGeom>
          </p:spPr>
        </p:pic>
        <p:pic>
          <p:nvPicPr>
            <p:cNvPr id="16" name="Picture 12" descr="A picture containing computer, laptop, sitting, clock&#10;&#10;Description automatically generated">
              <a:extLst>
                <a:ext uri="{FF2B5EF4-FFF2-40B4-BE49-F238E27FC236}">
                  <a16:creationId xmlns:a16="http://schemas.microsoft.com/office/drawing/2014/main" id="{17992223-2C76-4695-AE98-BB5FCC446D3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88274" y="1979386"/>
              <a:ext cx="4581382" cy="1007868"/>
            </a:xfrm>
            <a:prstGeom prst="rect">
              <a:avLst/>
            </a:prstGeom>
          </p:spPr>
        </p:pic>
        <p:pic>
          <p:nvPicPr>
            <p:cNvPr id="17" name="Picture 2" descr="Microsoft Outlook — Википедия">
              <a:extLst>
                <a:ext uri="{FF2B5EF4-FFF2-40B4-BE49-F238E27FC236}">
                  <a16:creationId xmlns:a16="http://schemas.microsoft.com/office/drawing/2014/main" id="{E227768C-0A2D-48B8-BD6C-47AA553CD70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2474" y="3494621"/>
              <a:ext cx="936427" cy="8708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4" descr="Mozilla Thunderbird — Википедия">
              <a:extLst>
                <a:ext uri="{FF2B5EF4-FFF2-40B4-BE49-F238E27FC236}">
                  <a16:creationId xmlns:a16="http://schemas.microsoft.com/office/drawing/2014/main" id="{E939CB62-702F-4112-AB70-F0D9A4F955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38966" y="3531431"/>
              <a:ext cx="940000" cy="9250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6" descr="File:Mail (iOS).svg - Wikimedia Commons">
              <a:extLst>
                <a:ext uri="{FF2B5EF4-FFF2-40B4-BE49-F238E27FC236}">
                  <a16:creationId xmlns:a16="http://schemas.microsoft.com/office/drawing/2014/main" id="{BCDD4D9A-169E-43EE-BBB0-7A973F969A8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796202" y="3556181"/>
              <a:ext cx="803524" cy="8035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0" name="Picture 31">
            <a:extLst>
              <a:ext uri="{FF2B5EF4-FFF2-40B4-BE49-F238E27FC236}">
                <a16:creationId xmlns:a16="http://schemas.microsoft.com/office/drawing/2014/main" id="{3273D62B-3C8A-41CC-BC36-34B0B71918BC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2000" y="265886"/>
            <a:ext cx="2286000" cy="591365"/>
          </a:xfrm>
          <a:prstGeom prst="rect">
            <a:avLst/>
          </a:prstGeom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141AABC5-D1F0-486C-B5A9-37D6321D83F9}"/>
              </a:ext>
            </a:extLst>
          </p:cNvPr>
          <p:cNvSpPr txBox="1">
            <a:spLocks/>
          </p:cNvSpPr>
          <p:nvPr/>
        </p:nvSpPr>
        <p:spPr>
          <a:xfrm>
            <a:off x="3997778" y="401565"/>
            <a:ext cx="9179848" cy="761997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r">
              <a:tabLst>
                <a:tab pos="82550" algn="l"/>
              </a:tabLst>
            </a:pPr>
            <a:r>
              <a:rPr lang="ru-RU" sz="240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ддержка приложений</a:t>
            </a:r>
          </a:p>
          <a:p>
            <a:pPr algn="r">
              <a:tabLst>
                <a:tab pos="82550" algn="l"/>
              </a:tabLst>
            </a:pPr>
            <a:endParaRPr lang="ru-RU" sz="2400" dirty="0">
              <a:solidFill>
                <a:srgbClr val="FF93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r">
              <a:tabLst>
                <a:tab pos="82550" algn="l"/>
              </a:tabLst>
            </a:pPr>
            <a:endParaRPr lang="ru-RU" sz="300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5781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E70F31E-1E44-A942-888D-037C622972D9}"/>
              </a:ext>
            </a:extLst>
          </p:cNvPr>
          <p:cNvSpPr/>
          <p:nvPr/>
        </p:nvSpPr>
        <p:spPr>
          <a:xfrm>
            <a:off x="6722269" y="0"/>
            <a:ext cx="6722269" cy="7562850"/>
          </a:xfrm>
          <a:prstGeom prst="rect">
            <a:avLst/>
          </a:prstGeom>
          <a:solidFill>
            <a:srgbClr val="1E37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10" rIns="91419" bIns="45710" rtlCol="0" anchor="ctr"/>
          <a:lstStyle/>
          <a:p>
            <a:pPr algn="ctr"/>
            <a:endParaRPr lang="x-none">
              <a:solidFill>
                <a:srgbClr val="1E3777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C3E578-5603-7B4F-A2E5-749C0F711C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>
              <a:tabLst>
                <a:tab pos="3504384" algn="l"/>
              </a:tabLst>
            </a:pPr>
            <a:r>
              <a:rPr lang="ru-RU" dirty="0">
                <a:solidFill>
                  <a:srgbClr val="1E377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Универсальный коммуникационный клиент </a:t>
            </a:r>
            <a:r>
              <a:rPr lang="en-US" dirty="0" err="1">
                <a:solidFill>
                  <a:srgbClr val="1E377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amoware</a:t>
            </a:r>
            <a:endParaRPr lang="x-none" dirty="0">
              <a:solidFill>
                <a:srgbClr val="1E3777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43A8D4-2573-1449-9D5C-3E15D10C9E43}"/>
              </a:ext>
            </a:extLst>
          </p:cNvPr>
          <p:cNvSpPr/>
          <p:nvPr/>
        </p:nvSpPr>
        <p:spPr>
          <a:xfrm>
            <a:off x="417869" y="6552063"/>
            <a:ext cx="4033361" cy="261590"/>
          </a:xfrm>
          <a:prstGeom prst="rect">
            <a:avLst/>
          </a:prstGeom>
        </p:spPr>
        <p:txBody>
          <a:bodyPr wrap="square" lIns="91419" tIns="45710" rIns="91419" bIns="45710">
            <a:spAutoFit/>
          </a:bodyPr>
          <a:lstStyle/>
          <a:p>
            <a:r>
              <a:rPr lang="ru-RU" sz="1100" dirty="0">
                <a:solidFill>
                  <a:srgbClr val="A4B6C4"/>
                </a:solidFill>
              </a:rPr>
              <a:t>* Функционал может отличаться в зависимости от типа клиента</a:t>
            </a: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492630E6-40E4-444B-857E-26DD3485A67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7827" y="343904"/>
            <a:ext cx="6111154" cy="5799723"/>
          </a:xfrm>
          <a:prstGeom prst="rect">
            <a:avLst/>
          </a:prstGeom>
        </p:spPr>
      </p:pic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BDFF1C37-5789-8244-A3BD-7945466AE12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62584" y="6158641"/>
            <a:ext cx="3041639" cy="786841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97EDF86-0774-4438-B72F-0543799FB02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1250" t="70263" r="61563" b="17144"/>
          <a:stretch/>
        </p:blipFill>
        <p:spPr>
          <a:xfrm>
            <a:off x="441398" y="5416461"/>
            <a:ext cx="876300" cy="863601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64F74B91-B71B-4E64-92D8-791CB136EDD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1396" t="23206" r="78895" b="62098"/>
          <a:stretch/>
        </p:blipFill>
        <p:spPr>
          <a:xfrm>
            <a:off x="287669" y="2245900"/>
            <a:ext cx="1183759" cy="1007869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1DBF709-4010-4DE6-9F7E-65FB045CC8F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1072" t="20992" r="38739" b="59679"/>
          <a:stretch/>
        </p:blipFill>
        <p:spPr>
          <a:xfrm>
            <a:off x="287669" y="3469183"/>
            <a:ext cx="1242287" cy="1325563"/>
          </a:xfrm>
          <a:prstGeom prst="rect">
            <a:avLst/>
          </a:prstGeom>
        </p:spPr>
      </p:pic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C07DD0FC-6CB7-4919-B9CE-81752C3D801F}"/>
              </a:ext>
            </a:extLst>
          </p:cNvPr>
          <p:cNvSpPr/>
          <p:nvPr/>
        </p:nvSpPr>
        <p:spPr>
          <a:xfrm>
            <a:off x="1529956" y="2593405"/>
            <a:ext cx="491479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kern="180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диная экосистема коммуникационных приложений: </a:t>
            </a:r>
            <a:r>
              <a:rPr lang="ru-RU" b="1" kern="180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сктоп</a:t>
            </a:r>
            <a:r>
              <a:rPr lang="ru-RU" kern="180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, </a:t>
            </a:r>
            <a:r>
              <a:rPr lang="ru-RU" b="1" kern="180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еб</a:t>
            </a:r>
            <a:r>
              <a:rPr lang="ru-RU" kern="180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и </a:t>
            </a:r>
            <a:r>
              <a:rPr lang="ru-RU" b="1" kern="180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обильный</a:t>
            </a:r>
            <a:endParaRPr lang="ru-RU" dirty="0">
              <a:solidFill>
                <a:srgbClr val="02050A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0ED36AE3-323D-49AC-81CC-AA03A602EB22}"/>
              </a:ext>
            </a:extLst>
          </p:cNvPr>
          <p:cNvSpPr/>
          <p:nvPr/>
        </p:nvSpPr>
        <p:spPr>
          <a:xfrm>
            <a:off x="1425484" y="3781425"/>
            <a:ext cx="491479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сё</a:t>
            </a:r>
            <a:r>
              <a:rPr lang="ru-RU" b="1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одном: электронная почта*, короткие сообщения, телефония, доступ к ВКС*, календари*, задачи*, заметки*, управление корпоративным контентом, контакт-центр*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F643E70C-8F5E-41CA-9D27-E7898C99EFE7}"/>
              </a:ext>
            </a:extLst>
          </p:cNvPr>
          <p:cNvSpPr/>
          <p:nvPr/>
        </p:nvSpPr>
        <p:spPr>
          <a:xfrm>
            <a:off x="1398466" y="5525095"/>
            <a:ext cx="491479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kern="180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квозное шифрование, двухфакторная аутентификация, собственные протоколы (XIMSS)</a:t>
            </a:r>
          </a:p>
        </p:txBody>
      </p:sp>
    </p:spTree>
    <p:extLst>
      <p:ext uri="{BB962C8B-B14F-4D97-AF65-F5344CB8AC3E}">
        <p14:creationId xmlns:p14="http://schemas.microsoft.com/office/powerpoint/2010/main" val="29706010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okvzFJba2qOzXrcJ1r9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BGDcbAP2AokYk6hVdJ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okvzFJba2qOzXrcJ1r9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Office Theme">
  <a:themeElements>
    <a:clrScheme name="CommuniGate 01">
      <a:dk1>
        <a:srgbClr val="004987"/>
      </a:dk1>
      <a:lt1>
        <a:srgbClr val="FFFFFF"/>
      </a:lt1>
      <a:dk2>
        <a:srgbClr val="0065A3"/>
      </a:dk2>
      <a:lt2>
        <a:srgbClr val="E7E6E6"/>
      </a:lt2>
      <a:accent1>
        <a:srgbClr val="0065A3"/>
      </a:accent1>
      <a:accent2>
        <a:srgbClr val="EE7500"/>
      </a:accent2>
      <a:accent3>
        <a:srgbClr val="69A1D3"/>
      </a:accent3>
      <a:accent4>
        <a:srgbClr val="EC9C09"/>
      </a:accent4>
      <a:accent5>
        <a:srgbClr val="5B9BD5"/>
      </a:accent5>
      <a:accent6>
        <a:srgbClr val="6C82B9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CommuniGate 01">
      <a:dk1>
        <a:srgbClr val="004987"/>
      </a:dk1>
      <a:lt1>
        <a:srgbClr val="FFFFFF"/>
      </a:lt1>
      <a:dk2>
        <a:srgbClr val="0065A3"/>
      </a:dk2>
      <a:lt2>
        <a:srgbClr val="E7E6E6"/>
      </a:lt2>
      <a:accent1>
        <a:srgbClr val="0065A3"/>
      </a:accent1>
      <a:accent2>
        <a:srgbClr val="EE7500"/>
      </a:accent2>
      <a:accent3>
        <a:srgbClr val="69A1D3"/>
      </a:accent3>
      <a:accent4>
        <a:srgbClr val="EC9C09"/>
      </a:accent4>
      <a:accent5>
        <a:srgbClr val="5B9BD5"/>
      </a:accent5>
      <a:accent6>
        <a:srgbClr val="6C82B9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99</Words>
  <Application>Microsoft Office PowerPoint</Application>
  <PresentationFormat>Произвольный</PresentationFormat>
  <Paragraphs>312</Paragraphs>
  <Slides>25</Slides>
  <Notes>1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5</vt:i4>
      </vt:variant>
    </vt:vector>
  </HeadingPairs>
  <TitlesOfParts>
    <vt:vector size="37" baseType="lpstr">
      <vt:lpstr>Arial</vt:lpstr>
      <vt:lpstr>Calibri</vt:lpstr>
      <vt:lpstr>Calibri Light</vt:lpstr>
      <vt:lpstr>Open Sans</vt:lpstr>
      <vt:lpstr>Tahoma</vt:lpstr>
      <vt:lpstr>Times New Roman</vt:lpstr>
      <vt:lpstr>Ubuntu</vt:lpstr>
      <vt:lpstr>Ubuntu Regular</vt:lpstr>
      <vt:lpstr>Verdana</vt:lpstr>
      <vt:lpstr>5_Office Theme</vt:lpstr>
      <vt:lpstr>3_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Универсальный коммуникационный клиент Samoware</vt:lpstr>
      <vt:lpstr>Функциональность клиент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Нижегородская область</vt:lpstr>
      <vt:lpstr>Волгоградская область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5-18T21:35:10Z</dcterms:created>
  <dcterms:modified xsi:type="dcterms:W3CDTF">2022-10-20T10:13:06Z</dcterms:modified>
</cp:coreProperties>
</file>